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1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2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46" r:id="rId1"/>
    <p:sldMasterId id="2147485164" r:id="rId2"/>
  </p:sldMasterIdLst>
  <p:notesMasterIdLst>
    <p:notesMasterId r:id="rId7"/>
  </p:notesMasterIdLst>
  <p:handoutMasterIdLst>
    <p:handoutMasterId r:id="rId8"/>
  </p:handoutMasterIdLst>
  <p:sldIdLst>
    <p:sldId id="335" r:id="rId3"/>
    <p:sldId id="364" r:id="rId4"/>
    <p:sldId id="390" r:id="rId5"/>
    <p:sldId id="393" r:id="rId6"/>
  </p:sldIdLst>
  <p:sldSz cx="10477500" cy="5883275"/>
  <p:notesSz cx="6794500" cy="9931400"/>
  <p:custDataLst>
    <p:tags r:id="rId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1pPr>
    <a:lvl2pPr marL="473245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2pPr>
    <a:lvl3pPr marL="948139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3pPr>
    <a:lvl4pPr marL="1423033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4pPr>
    <a:lvl5pPr marL="1897926" indent="1649" algn="l" rtl="0" fontAlgn="base">
      <a:spcBef>
        <a:spcPct val="50000"/>
      </a:spcBef>
      <a:spcAft>
        <a:spcPct val="0"/>
      </a:spcAft>
      <a:defRPr sz="1200" kern="1200">
        <a:solidFill>
          <a:srgbClr val="464646"/>
        </a:solidFill>
        <a:latin typeface="Arial" charset="0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6pPr>
    <a:lvl7pPr marL="2849362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7pPr>
    <a:lvl8pPr marL="3324255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8pPr>
    <a:lvl9pPr marL="3799149" algn="l" defTabSz="949787" rtl="0" eaLnBrk="1" latinLnBrk="0" hangingPunct="1">
      <a:defRPr sz="1200" kern="1200">
        <a:solidFill>
          <a:srgbClr val="464646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D8D"/>
    <a:srgbClr val="F79233"/>
    <a:srgbClr val="464646"/>
    <a:srgbClr val="916A80"/>
    <a:srgbClr val="C0C0C0"/>
    <a:srgbClr val="FF0033"/>
    <a:srgbClr val="000000"/>
    <a:srgbClr val="AEAEAE"/>
    <a:srgbClr val="F06464"/>
    <a:srgbClr val="FFE5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57" autoAdjust="0"/>
    <p:restoredTop sz="96016" autoAdjust="0"/>
  </p:normalViewPr>
  <p:slideViewPr>
    <p:cSldViewPr snapToGrid="0" snapToObjects="1">
      <p:cViewPr>
        <p:scale>
          <a:sx n="125" d="100"/>
          <a:sy n="125" d="100"/>
        </p:scale>
        <p:origin x="-378" y="-114"/>
      </p:cViewPr>
      <p:guideLst>
        <p:guide orient="horz" pos="730"/>
        <p:guide orient="horz" pos="588"/>
        <p:guide orient="horz" pos="312"/>
        <p:guide orient="horz" pos="233"/>
        <p:guide orient="horz" pos="3166"/>
        <p:guide orient="horz" pos="2776"/>
        <p:guide orient="horz" pos="181"/>
        <p:guide orient="horz" pos="3230"/>
        <p:guide pos="3488"/>
        <p:guide pos="6240"/>
        <p:guide pos="366"/>
        <p:guide pos="6599"/>
        <p:guide pos="564"/>
        <p:guide pos="3314"/>
        <p:guide pos="5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3732" y="-102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35012594458438"/>
          <c:y val="5.764411027568922E-2"/>
          <c:w val="0.87153652392947101"/>
          <c:h val="0.73182957393483705"/>
        </c:manualLayout>
      </c:layout>
      <c:lineChart>
        <c:grouping val="standard"/>
        <c:varyColors val="0"/>
        <c:ser>
          <c:idx val="0"/>
          <c:order val="0"/>
          <c:tx>
            <c:strRef>
              <c:f>Tabelle1!$C$1</c:f>
              <c:strCache>
                <c:ptCount val="1"/>
                <c:pt idx="0">
                  <c:v>Trailer ProSieben</c:v>
                </c:pt>
              </c:strCache>
            </c:strRef>
          </c:tx>
          <c:spPr>
            <a:ln w="57150">
              <a:solidFill>
                <a:srgbClr val="FF000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elete val="1"/>
          </c:dLbls>
          <c:cat>
            <c:numRef>
              <c:f>Tabelle1!$A$2:$A$27</c:f>
              <c:numCache>
                <c:formatCode>General</c:formatCode>
                <c:ptCount val="26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  <c:pt idx="6">
                  <c:v>12</c:v>
                </c:pt>
                <c:pt idx="7">
                  <c:v>14</c:v>
                </c:pt>
                <c:pt idx="8">
                  <c:v>16</c:v>
                </c:pt>
                <c:pt idx="9">
                  <c:v>18</c:v>
                </c:pt>
                <c:pt idx="10">
                  <c:v>20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8</c:v>
                </c:pt>
                <c:pt idx="15">
                  <c:v>30</c:v>
                </c:pt>
                <c:pt idx="16">
                  <c:v>32</c:v>
                </c:pt>
                <c:pt idx="17">
                  <c:v>34</c:v>
                </c:pt>
                <c:pt idx="18">
                  <c:v>36</c:v>
                </c:pt>
                <c:pt idx="19">
                  <c:v>38</c:v>
                </c:pt>
                <c:pt idx="20">
                  <c:v>40</c:v>
                </c:pt>
                <c:pt idx="21">
                  <c:v>42</c:v>
                </c:pt>
                <c:pt idx="22">
                  <c:v>44</c:v>
                </c:pt>
                <c:pt idx="23">
                  <c:v>46</c:v>
                </c:pt>
                <c:pt idx="24">
                  <c:v>48</c:v>
                </c:pt>
                <c:pt idx="25">
                  <c:v>50</c:v>
                </c:pt>
              </c:numCache>
            </c:numRef>
          </c:cat>
          <c:val>
            <c:numRef>
              <c:f>Tabelle1!$C$2:$C$27</c:f>
              <c:numCache>
                <c:formatCode>0</c:formatCode>
                <c:ptCount val="26"/>
                <c:pt idx="0">
                  <c:v>347.15294117647056</c:v>
                </c:pt>
                <c:pt idx="1">
                  <c:v>364.23529411764707</c:v>
                </c:pt>
                <c:pt idx="2">
                  <c:v>279.49411764705883</c:v>
                </c:pt>
                <c:pt idx="3">
                  <c:v>237.24705882352941</c:v>
                </c:pt>
                <c:pt idx="4">
                  <c:v>210.35294117647058</c:v>
                </c:pt>
                <c:pt idx="5">
                  <c:v>197.03529411764706</c:v>
                </c:pt>
                <c:pt idx="6">
                  <c:v>183.45882352941177</c:v>
                </c:pt>
                <c:pt idx="7">
                  <c:v>179.31764705882352</c:v>
                </c:pt>
                <c:pt idx="8">
                  <c:v>189.62352941176471</c:v>
                </c:pt>
                <c:pt idx="9">
                  <c:v>186.8</c:v>
                </c:pt>
                <c:pt idx="10">
                  <c:v>185.72941176470587</c:v>
                </c:pt>
                <c:pt idx="11">
                  <c:v>199</c:v>
                </c:pt>
                <c:pt idx="12">
                  <c:v>195.3294117647059</c:v>
                </c:pt>
                <c:pt idx="13">
                  <c:v>189.05882352941177</c:v>
                </c:pt>
                <c:pt idx="14">
                  <c:v>185.85882352941175</c:v>
                </c:pt>
                <c:pt idx="15">
                  <c:v>185.56470588235294</c:v>
                </c:pt>
                <c:pt idx="16">
                  <c:v>178.81176470588235</c:v>
                </c:pt>
                <c:pt idx="17">
                  <c:v>174.11764705882354</c:v>
                </c:pt>
                <c:pt idx="18">
                  <c:v>171.34117647058824</c:v>
                </c:pt>
                <c:pt idx="19">
                  <c:v>165.71764705882353</c:v>
                </c:pt>
                <c:pt idx="20">
                  <c:v>163.11764705882354</c:v>
                </c:pt>
                <c:pt idx="21">
                  <c:v>158.98823529411766</c:v>
                </c:pt>
                <c:pt idx="22">
                  <c:v>157.35294117647058</c:v>
                </c:pt>
                <c:pt idx="23">
                  <c:v>162.03529411764706</c:v>
                </c:pt>
                <c:pt idx="24">
                  <c:v>159.87058823529412</c:v>
                </c:pt>
                <c:pt idx="25">
                  <c:v>158.7764705882353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429760"/>
        <c:axId val="35660928"/>
      </c:lineChart>
      <c:catAx>
        <c:axId val="35429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708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356609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5660928"/>
        <c:scaling>
          <c:orientation val="minMax"/>
        </c:scaling>
        <c:delete val="0"/>
        <c:axPos val="l"/>
        <c:majorGridlines>
          <c:spPr>
            <a:ln w="3236">
              <a:solidFill>
                <a:srgbClr val="8D8D8D"/>
              </a:solidFill>
              <a:prstDash val="sysDash"/>
            </a:ln>
          </c:spPr>
        </c:majorGridlines>
        <c:numFmt formatCode="0" sourceLinked="0"/>
        <c:majorTickMark val="out"/>
        <c:minorTickMark val="none"/>
        <c:tickLblPos val="nextTo"/>
        <c:spPr>
          <a:ln w="9708">
            <a:noFill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35429760"/>
        <c:crosses val="autoZero"/>
        <c:crossBetween val="between"/>
      </c:valAx>
      <c:spPr>
        <a:noFill/>
        <a:ln w="25889">
          <a:noFill/>
        </a:ln>
      </c:spPr>
    </c:plotArea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892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301647655259824E-2"/>
          <c:y val="3.1331592689295036E-2"/>
          <c:w val="0.93409378960709755"/>
          <c:h val="0.71018276762402088"/>
        </c:manualLayout>
      </c:layout>
      <c:lineChart>
        <c:grouping val="standard"/>
        <c:varyColors val="0"/>
        <c:ser>
          <c:idx val="1"/>
          <c:order val="0"/>
          <c:tx>
            <c:strRef>
              <c:f>Tabelle1!$F$1</c:f>
              <c:strCache>
                <c:ptCount val="1"/>
                <c:pt idx="0">
                  <c:v>29.03.2011</c:v>
                </c:pt>
              </c:strCache>
            </c:strRef>
          </c:tx>
          <c:spPr>
            <a:ln w="38100">
              <a:solidFill>
                <a:srgbClr val="F79233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elete val="1"/>
          </c:dLbls>
          <c:cat>
            <c:numRef>
              <c:f>Tabelle1!$A$2:$A$77</c:f>
              <c:numCache>
                <c:formatCode>h:mm:ss</c:formatCode>
                <c:ptCount val="76"/>
                <c:pt idx="0">
                  <c:v>0.70833333333333337</c:v>
                </c:pt>
                <c:pt idx="1">
                  <c:v>0.70972222222222225</c:v>
                </c:pt>
                <c:pt idx="2">
                  <c:v>0.71111111111111114</c:v>
                </c:pt>
                <c:pt idx="3">
                  <c:v>0.71250000000000002</c:v>
                </c:pt>
                <c:pt idx="4">
                  <c:v>0.71388888888888891</c:v>
                </c:pt>
                <c:pt idx="5">
                  <c:v>0.71527777777777779</c:v>
                </c:pt>
                <c:pt idx="6">
                  <c:v>0.71666666666666667</c:v>
                </c:pt>
                <c:pt idx="7">
                  <c:v>0.71805555555555556</c:v>
                </c:pt>
                <c:pt idx="8">
                  <c:v>0.71944444444444444</c:v>
                </c:pt>
                <c:pt idx="9">
                  <c:v>0.72083333333333333</c:v>
                </c:pt>
                <c:pt idx="10">
                  <c:v>0.72222222222222221</c:v>
                </c:pt>
                <c:pt idx="11">
                  <c:v>0.72361111111111109</c:v>
                </c:pt>
                <c:pt idx="12">
                  <c:v>0.72499999999999998</c:v>
                </c:pt>
                <c:pt idx="13">
                  <c:v>0.72638888888888886</c:v>
                </c:pt>
                <c:pt idx="14">
                  <c:v>0.72777777777777775</c:v>
                </c:pt>
                <c:pt idx="15">
                  <c:v>0.72916666666666663</c:v>
                </c:pt>
                <c:pt idx="16">
                  <c:v>0.73055555555555562</c:v>
                </c:pt>
                <c:pt idx="17">
                  <c:v>0.7319444444444444</c:v>
                </c:pt>
                <c:pt idx="18">
                  <c:v>0.73333333333333339</c:v>
                </c:pt>
                <c:pt idx="19">
                  <c:v>0.73472222222222217</c:v>
                </c:pt>
                <c:pt idx="20">
                  <c:v>0.73611111111111116</c:v>
                </c:pt>
                <c:pt idx="21">
                  <c:v>0.73750000000000004</c:v>
                </c:pt>
                <c:pt idx="22">
                  <c:v>0.73888888888888893</c:v>
                </c:pt>
                <c:pt idx="23">
                  <c:v>0.7402777777777777</c:v>
                </c:pt>
                <c:pt idx="24">
                  <c:v>0.7416666666666667</c:v>
                </c:pt>
                <c:pt idx="25">
                  <c:v>0.74305555555555547</c:v>
                </c:pt>
                <c:pt idx="26">
                  <c:v>0.74444444444444446</c:v>
                </c:pt>
                <c:pt idx="27">
                  <c:v>0.74583333333333324</c:v>
                </c:pt>
                <c:pt idx="28">
                  <c:v>0.74722222222222223</c:v>
                </c:pt>
                <c:pt idx="29">
                  <c:v>0.74861111111111101</c:v>
                </c:pt>
                <c:pt idx="30">
                  <c:v>0.75</c:v>
                </c:pt>
                <c:pt idx="31">
                  <c:v>0.75138888888888899</c:v>
                </c:pt>
                <c:pt idx="32">
                  <c:v>0.75277777777777777</c:v>
                </c:pt>
                <c:pt idx="33">
                  <c:v>0.75416666666666676</c:v>
                </c:pt>
                <c:pt idx="34">
                  <c:v>0.75555555555555554</c:v>
                </c:pt>
                <c:pt idx="35">
                  <c:v>0.75694444444444453</c:v>
                </c:pt>
                <c:pt idx="36">
                  <c:v>0.7583333333333333</c:v>
                </c:pt>
                <c:pt idx="37">
                  <c:v>0.7597222222222223</c:v>
                </c:pt>
                <c:pt idx="38">
                  <c:v>0.76111111111111107</c:v>
                </c:pt>
                <c:pt idx="39">
                  <c:v>0.76249999999999996</c:v>
                </c:pt>
                <c:pt idx="40">
                  <c:v>0.76388888888888884</c:v>
                </c:pt>
                <c:pt idx="41">
                  <c:v>0.76527777777777783</c:v>
                </c:pt>
                <c:pt idx="42">
                  <c:v>0.76666666666666661</c:v>
                </c:pt>
                <c:pt idx="43">
                  <c:v>0.7680555555555556</c:v>
                </c:pt>
                <c:pt idx="44">
                  <c:v>0.76944444444444438</c:v>
                </c:pt>
                <c:pt idx="45">
                  <c:v>0.77083333333333337</c:v>
                </c:pt>
                <c:pt idx="46">
                  <c:v>0.77222222222222225</c:v>
                </c:pt>
                <c:pt idx="47">
                  <c:v>0.77361111111111114</c:v>
                </c:pt>
                <c:pt idx="48">
                  <c:v>0.77500000000000002</c:v>
                </c:pt>
                <c:pt idx="49">
                  <c:v>0.77638888888888891</c:v>
                </c:pt>
                <c:pt idx="50">
                  <c:v>0.77777777777777779</c:v>
                </c:pt>
                <c:pt idx="51">
                  <c:v>0.77916666666666667</c:v>
                </c:pt>
                <c:pt idx="52">
                  <c:v>0.78055555555555556</c:v>
                </c:pt>
                <c:pt idx="53">
                  <c:v>0.78194444444444444</c:v>
                </c:pt>
                <c:pt idx="54">
                  <c:v>0.78333333333333333</c:v>
                </c:pt>
                <c:pt idx="55">
                  <c:v>0.78472222222222221</c:v>
                </c:pt>
                <c:pt idx="56">
                  <c:v>0.78611111111111109</c:v>
                </c:pt>
                <c:pt idx="57">
                  <c:v>0.78749999999999998</c:v>
                </c:pt>
                <c:pt idx="58">
                  <c:v>0.78888888888888886</c:v>
                </c:pt>
                <c:pt idx="59">
                  <c:v>0.79027777777777775</c:v>
                </c:pt>
                <c:pt idx="60">
                  <c:v>0.79166666666666663</c:v>
                </c:pt>
                <c:pt idx="61">
                  <c:v>0.79305555555555562</c:v>
                </c:pt>
                <c:pt idx="62">
                  <c:v>0.7944444444444444</c:v>
                </c:pt>
                <c:pt idx="63">
                  <c:v>0.79583333333333339</c:v>
                </c:pt>
                <c:pt idx="64">
                  <c:v>0.79722222222222217</c:v>
                </c:pt>
                <c:pt idx="65">
                  <c:v>0.79861111111111116</c:v>
                </c:pt>
                <c:pt idx="66">
                  <c:v>0.8</c:v>
                </c:pt>
                <c:pt idx="67">
                  <c:v>0.80138888888888893</c:v>
                </c:pt>
                <c:pt idx="68">
                  <c:v>0.8027777777777777</c:v>
                </c:pt>
                <c:pt idx="69">
                  <c:v>0.8041666666666667</c:v>
                </c:pt>
                <c:pt idx="70">
                  <c:v>0.80555555555555547</c:v>
                </c:pt>
                <c:pt idx="71">
                  <c:v>0.80694444444444446</c:v>
                </c:pt>
                <c:pt idx="72">
                  <c:v>0.80833333333333324</c:v>
                </c:pt>
                <c:pt idx="73">
                  <c:v>0.80972222222222223</c:v>
                </c:pt>
                <c:pt idx="74">
                  <c:v>0.81111111111111101</c:v>
                </c:pt>
                <c:pt idx="75">
                  <c:v>0.8125</c:v>
                </c:pt>
              </c:numCache>
            </c:numRef>
          </c:cat>
          <c:val>
            <c:numRef>
              <c:f>Tabelle1!$F$2:$F$77</c:f>
              <c:numCache>
                <c:formatCode>General</c:formatCode>
                <c:ptCount val="76"/>
                <c:pt idx="0">
                  <c:v>8</c:v>
                </c:pt>
                <c:pt idx="1">
                  <c:v>5</c:v>
                </c:pt>
                <c:pt idx="2">
                  <c:v>9</c:v>
                </c:pt>
                <c:pt idx="3">
                  <c:v>14</c:v>
                </c:pt>
                <c:pt idx="4">
                  <c:v>14</c:v>
                </c:pt>
                <c:pt idx="5">
                  <c:v>4</c:v>
                </c:pt>
                <c:pt idx="6">
                  <c:v>9</c:v>
                </c:pt>
                <c:pt idx="7">
                  <c:v>6</c:v>
                </c:pt>
                <c:pt idx="8">
                  <c:v>19</c:v>
                </c:pt>
                <c:pt idx="9">
                  <c:v>15</c:v>
                </c:pt>
                <c:pt idx="10">
                  <c:v>7</c:v>
                </c:pt>
                <c:pt idx="11">
                  <c:v>4</c:v>
                </c:pt>
                <c:pt idx="12">
                  <c:v>8</c:v>
                </c:pt>
                <c:pt idx="13">
                  <c:v>5</c:v>
                </c:pt>
                <c:pt idx="14">
                  <c:v>2</c:v>
                </c:pt>
                <c:pt idx="15">
                  <c:v>5</c:v>
                </c:pt>
                <c:pt idx="16">
                  <c:v>6</c:v>
                </c:pt>
                <c:pt idx="17">
                  <c:v>6</c:v>
                </c:pt>
                <c:pt idx="18">
                  <c:v>5</c:v>
                </c:pt>
                <c:pt idx="19">
                  <c:v>16</c:v>
                </c:pt>
                <c:pt idx="20">
                  <c:v>10</c:v>
                </c:pt>
                <c:pt idx="21">
                  <c:v>7</c:v>
                </c:pt>
                <c:pt idx="22">
                  <c:v>5</c:v>
                </c:pt>
                <c:pt idx="23">
                  <c:v>13</c:v>
                </c:pt>
                <c:pt idx="24">
                  <c:v>12</c:v>
                </c:pt>
                <c:pt idx="25">
                  <c:v>13</c:v>
                </c:pt>
                <c:pt idx="26">
                  <c:v>10</c:v>
                </c:pt>
                <c:pt idx="27">
                  <c:v>10</c:v>
                </c:pt>
                <c:pt idx="28">
                  <c:v>9</c:v>
                </c:pt>
                <c:pt idx="29">
                  <c:v>12</c:v>
                </c:pt>
                <c:pt idx="30">
                  <c:v>13</c:v>
                </c:pt>
                <c:pt idx="31">
                  <c:v>15</c:v>
                </c:pt>
                <c:pt idx="32">
                  <c:v>30</c:v>
                </c:pt>
                <c:pt idx="33">
                  <c:v>12</c:v>
                </c:pt>
                <c:pt idx="34">
                  <c:v>16</c:v>
                </c:pt>
                <c:pt idx="35">
                  <c:v>12</c:v>
                </c:pt>
                <c:pt idx="36">
                  <c:v>7</c:v>
                </c:pt>
                <c:pt idx="37">
                  <c:v>21</c:v>
                </c:pt>
                <c:pt idx="38">
                  <c:v>9</c:v>
                </c:pt>
                <c:pt idx="39">
                  <c:v>27</c:v>
                </c:pt>
                <c:pt idx="40">
                  <c:v>21</c:v>
                </c:pt>
                <c:pt idx="41">
                  <c:v>20</c:v>
                </c:pt>
                <c:pt idx="42">
                  <c:v>33</c:v>
                </c:pt>
                <c:pt idx="43">
                  <c:v>50</c:v>
                </c:pt>
                <c:pt idx="44">
                  <c:v>68</c:v>
                </c:pt>
                <c:pt idx="45">
                  <c:v>59</c:v>
                </c:pt>
                <c:pt idx="46">
                  <c:v>92</c:v>
                </c:pt>
                <c:pt idx="47">
                  <c:v>80</c:v>
                </c:pt>
                <c:pt idx="48">
                  <c:v>660</c:v>
                </c:pt>
                <c:pt idx="49">
                  <c:v>556</c:v>
                </c:pt>
                <c:pt idx="50">
                  <c:v>380</c:v>
                </c:pt>
                <c:pt idx="51">
                  <c:v>251</c:v>
                </c:pt>
                <c:pt idx="52">
                  <c:v>176</c:v>
                </c:pt>
                <c:pt idx="53">
                  <c:v>168</c:v>
                </c:pt>
                <c:pt idx="54">
                  <c:v>116</c:v>
                </c:pt>
                <c:pt idx="55">
                  <c:v>114</c:v>
                </c:pt>
                <c:pt idx="56">
                  <c:v>88</c:v>
                </c:pt>
                <c:pt idx="57">
                  <c:v>105</c:v>
                </c:pt>
                <c:pt idx="58">
                  <c:v>71</c:v>
                </c:pt>
                <c:pt idx="59">
                  <c:v>44</c:v>
                </c:pt>
                <c:pt idx="60">
                  <c:v>52</c:v>
                </c:pt>
                <c:pt idx="61">
                  <c:v>49</c:v>
                </c:pt>
                <c:pt idx="62">
                  <c:v>52</c:v>
                </c:pt>
                <c:pt idx="63">
                  <c:v>31</c:v>
                </c:pt>
                <c:pt idx="64">
                  <c:v>45</c:v>
                </c:pt>
                <c:pt idx="65">
                  <c:v>49</c:v>
                </c:pt>
                <c:pt idx="66">
                  <c:v>35</c:v>
                </c:pt>
                <c:pt idx="67">
                  <c:v>33</c:v>
                </c:pt>
                <c:pt idx="68">
                  <c:v>43</c:v>
                </c:pt>
                <c:pt idx="69">
                  <c:v>43</c:v>
                </c:pt>
                <c:pt idx="70">
                  <c:v>39</c:v>
                </c:pt>
                <c:pt idx="71">
                  <c:v>37</c:v>
                </c:pt>
                <c:pt idx="72">
                  <c:v>22</c:v>
                </c:pt>
                <c:pt idx="73">
                  <c:v>39</c:v>
                </c:pt>
                <c:pt idx="74">
                  <c:v>23</c:v>
                </c:pt>
                <c:pt idx="75">
                  <c:v>30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Tabelle1!$G$1</c:f>
              <c:strCache>
                <c:ptCount val="1"/>
                <c:pt idx="0">
                  <c:v>05.04.2011</c:v>
                </c:pt>
              </c:strCache>
            </c:strRef>
          </c:tx>
          <c:spPr>
            <a:ln w="38100">
              <a:solidFill>
                <a:srgbClr val="0070C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elete val="1"/>
          </c:dLbls>
          <c:cat>
            <c:numRef>
              <c:f>Tabelle1!$A$2:$A$77</c:f>
              <c:numCache>
                <c:formatCode>h:mm:ss</c:formatCode>
                <c:ptCount val="76"/>
                <c:pt idx="0">
                  <c:v>0.70833333333333337</c:v>
                </c:pt>
                <c:pt idx="1">
                  <c:v>0.70972222222222225</c:v>
                </c:pt>
                <c:pt idx="2">
                  <c:v>0.71111111111111114</c:v>
                </c:pt>
                <c:pt idx="3">
                  <c:v>0.71250000000000002</c:v>
                </c:pt>
                <c:pt idx="4">
                  <c:v>0.71388888888888891</c:v>
                </c:pt>
                <c:pt idx="5">
                  <c:v>0.71527777777777779</c:v>
                </c:pt>
                <c:pt idx="6">
                  <c:v>0.71666666666666667</c:v>
                </c:pt>
                <c:pt idx="7">
                  <c:v>0.71805555555555556</c:v>
                </c:pt>
                <c:pt idx="8">
                  <c:v>0.71944444444444444</c:v>
                </c:pt>
                <c:pt idx="9">
                  <c:v>0.72083333333333333</c:v>
                </c:pt>
                <c:pt idx="10">
                  <c:v>0.72222222222222221</c:v>
                </c:pt>
                <c:pt idx="11">
                  <c:v>0.72361111111111109</c:v>
                </c:pt>
                <c:pt idx="12">
                  <c:v>0.72499999999999998</c:v>
                </c:pt>
                <c:pt idx="13">
                  <c:v>0.72638888888888886</c:v>
                </c:pt>
                <c:pt idx="14">
                  <c:v>0.72777777777777775</c:v>
                </c:pt>
                <c:pt idx="15">
                  <c:v>0.72916666666666663</c:v>
                </c:pt>
                <c:pt idx="16">
                  <c:v>0.73055555555555562</c:v>
                </c:pt>
                <c:pt idx="17">
                  <c:v>0.7319444444444444</c:v>
                </c:pt>
                <c:pt idx="18">
                  <c:v>0.73333333333333339</c:v>
                </c:pt>
                <c:pt idx="19">
                  <c:v>0.73472222222222217</c:v>
                </c:pt>
                <c:pt idx="20">
                  <c:v>0.73611111111111116</c:v>
                </c:pt>
                <c:pt idx="21">
                  <c:v>0.73750000000000004</c:v>
                </c:pt>
                <c:pt idx="22">
                  <c:v>0.73888888888888893</c:v>
                </c:pt>
                <c:pt idx="23">
                  <c:v>0.7402777777777777</c:v>
                </c:pt>
                <c:pt idx="24">
                  <c:v>0.7416666666666667</c:v>
                </c:pt>
                <c:pt idx="25">
                  <c:v>0.74305555555555547</c:v>
                </c:pt>
                <c:pt idx="26">
                  <c:v>0.74444444444444446</c:v>
                </c:pt>
                <c:pt idx="27">
                  <c:v>0.74583333333333324</c:v>
                </c:pt>
                <c:pt idx="28">
                  <c:v>0.74722222222222223</c:v>
                </c:pt>
                <c:pt idx="29">
                  <c:v>0.74861111111111101</c:v>
                </c:pt>
                <c:pt idx="30">
                  <c:v>0.75</c:v>
                </c:pt>
                <c:pt idx="31">
                  <c:v>0.75138888888888899</c:v>
                </c:pt>
                <c:pt idx="32">
                  <c:v>0.75277777777777777</c:v>
                </c:pt>
                <c:pt idx="33">
                  <c:v>0.75416666666666676</c:v>
                </c:pt>
                <c:pt idx="34">
                  <c:v>0.75555555555555554</c:v>
                </c:pt>
                <c:pt idx="35">
                  <c:v>0.75694444444444453</c:v>
                </c:pt>
                <c:pt idx="36">
                  <c:v>0.7583333333333333</c:v>
                </c:pt>
                <c:pt idx="37">
                  <c:v>0.7597222222222223</c:v>
                </c:pt>
                <c:pt idx="38">
                  <c:v>0.76111111111111107</c:v>
                </c:pt>
                <c:pt idx="39">
                  <c:v>0.76249999999999996</c:v>
                </c:pt>
                <c:pt idx="40">
                  <c:v>0.76388888888888884</c:v>
                </c:pt>
                <c:pt idx="41">
                  <c:v>0.76527777777777783</c:v>
                </c:pt>
                <c:pt idx="42">
                  <c:v>0.76666666666666661</c:v>
                </c:pt>
                <c:pt idx="43">
                  <c:v>0.7680555555555556</c:v>
                </c:pt>
                <c:pt idx="44">
                  <c:v>0.76944444444444438</c:v>
                </c:pt>
                <c:pt idx="45">
                  <c:v>0.77083333333333337</c:v>
                </c:pt>
                <c:pt idx="46">
                  <c:v>0.77222222222222225</c:v>
                </c:pt>
                <c:pt idx="47">
                  <c:v>0.77361111111111114</c:v>
                </c:pt>
                <c:pt idx="48">
                  <c:v>0.77500000000000002</c:v>
                </c:pt>
                <c:pt idx="49">
                  <c:v>0.77638888888888891</c:v>
                </c:pt>
                <c:pt idx="50">
                  <c:v>0.77777777777777779</c:v>
                </c:pt>
                <c:pt idx="51">
                  <c:v>0.77916666666666667</c:v>
                </c:pt>
                <c:pt idx="52">
                  <c:v>0.78055555555555556</c:v>
                </c:pt>
                <c:pt idx="53">
                  <c:v>0.78194444444444444</c:v>
                </c:pt>
                <c:pt idx="54">
                  <c:v>0.78333333333333333</c:v>
                </c:pt>
                <c:pt idx="55">
                  <c:v>0.78472222222222221</c:v>
                </c:pt>
                <c:pt idx="56">
                  <c:v>0.78611111111111109</c:v>
                </c:pt>
                <c:pt idx="57">
                  <c:v>0.78749999999999998</c:v>
                </c:pt>
                <c:pt idx="58">
                  <c:v>0.78888888888888886</c:v>
                </c:pt>
                <c:pt idx="59">
                  <c:v>0.79027777777777775</c:v>
                </c:pt>
                <c:pt idx="60">
                  <c:v>0.79166666666666663</c:v>
                </c:pt>
                <c:pt idx="61">
                  <c:v>0.79305555555555562</c:v>
                </c:pt>
                <c:pt idx="62">
                  <c:v>0.7944444444444444</c:v>
                </c:pt>
                <c:pt idx="63">
                  <c:v>0.79583333333333339</c:v>
                </c:pt>
                <c:pt idx="64">
                  <c:v>0.79722222222222217</c:v>
                </c:pt>
                <c:pt idx="65">
                  <c:v>0.79861111111111116</c:v>
                </c:pt>
                <c:pt idx="66">
                  <c:v>0.8</c:v>
                </c:pt>
                <c:pt idx="67">
                  <c:v>0.80138888888888893</c:v>
                </c:pt>
                <c:pt idx="68">
                  <c:v>0.8027777777777777</c:v>
                </c:pt>
                <c:pt idx="69">
                  <c:v>0.8041666666666667</c:v>
                </c:pt>
                <c:pt idx="70">
                  <c:v>0.80555555555555547</c:v>
                </c:pt>
                <c:pt idx="71">
                  <c:v>0.80694444444444446</c:v>
                </c:pt>
                <c:pt idx="72">
                  <c:v>0.80833333333333324</c:v>
                </c:pt>
                <c:pt idx="73">
                  <c:v>0.80972222222222223</c:v>
                </c:pt>
                <c:pt idx="74">
                  <c:v>0.81111111111111101</c:v>
                </c:pt>
                <c:pt idx="75">
                  <c:v>0.8125</c:v>
                </c:pt>
              </c:numCache>
            </c:numRef>
          </c:cat>
          <c:val>
            <c:numRef>
              <c:f>Tabelle1!$G$2:$G$77</c:f>
              <c:numCache>
                <c:formatCode>General</c:formatCode>
                <c:ptCount val="76"/>
                <c:pt idx="0">
                  <c:v>7</c:v>
                </c:pt>
                <c:pt idx="1">
                  <c:v>7</c:v>
                </c:pt>
                <c:pt idx="2">
                  <c:v>16</c:v>
                </c:pt>
                <c:pt idx="3">
                  <c:v>13</c:v>
                </c:pt>
                <c:pt idx="4">
                  <c:v>11</c:v>
                </c:pt>
                <c:pt idx="5">
                  <c:v>15</c:v>
                </c:pt>
                <c:pt idx="6">
                  <c:v>7</c:v>
                </c:pt>
                <c:pt idx="7">
                  <c:v>5</c:v>
                </c:pt>
                <c:pt idx="8">
                  <c:v>17</c:v>
                </c:pt>
                <c:pt idx="9">
                  <c:v>12</c:v>
                </c:pt>
                <c:pt idx="10">
                  <c:v>9</c:v>
                </c:pt>
                <c:pt idx="11">
                  <c:v>9</c:v>
                </c:pt>
                <c:pt idx="12">
                  <c:v>3</c:v>
                </c:pt>
                <c:pt idx="13">
                  <c:v>11</c:v>
                </c:pt>
                <c:pt idx="14">
                  <c:v>11</c:v>
                </c:pt>
                <c:pt idx="15">
                  <c:v>9</c:v>
                </c:pt>
                <c:pt idx="16">
                  <c:v>5</c:v>
                </c:pt>
                <c:pt idx="17">
                  <c:v>7</c:v>
                </c:pt>
                <c:pt idx="18">
                  <c:v>7</c:v>
                </c:pt>
                <c:pt idx="19">
                  <c:v>12</c:v>
                </c:pt>
                <c:pt idx="20">
                  <c:v>9</c:v>
                </c:pt>
                <c:pt idx="21">
                  <c:v>15</c:v>
                </c:pt>
                <c:pt idx="22">
                  <c:v>11</c:v>
                </c:pt>
                <c:pt idx="23">
                  <c:v>2</c:v>
                </c:pt>
                <c:pt idx="24">
                  <c:v>8</c:v>
                </c:pt>
                <c:pt idx="25">
                  <c:v>4</c:v>
                </c:pt>
                <c:pt idx="26">
                  <c:v>17</c:v>
                </c:pt>
                <c:pt idx="27">
                  <c:v>8</c:v>
                </c:pt>
                <c:pt idx="28">
                  <c:v>14</c:v>
                </c:pt>
                <c:pt idx="29">
                  <c:v>22</c:v>
                </c:pt>
                <c:pt idx="30">
                  <c:v>36</c:v>
                </c:pt>
                <c:pt idx="31">
                  <c:v>68</c:v>
                </c:pt>
                <c:pt idx="32">
                  <c:v>69</c:v>
                </c:pt>
                <c:pt idx="33">
                  <c:v>79</c:v>
                </c:pt>
                <c:pt idx="34">
                  <c:v>183</c:v>
                </c:pt>
                <c:pt idx="35">
                  <c:v>134</c:v>
                </c:pt>
                <c:pt idx="36">
                  <c:v>93</c:v>
                </c:pt>
                <c:pt idx="37">
                  <c:v>75</c:v>
                </c:pt>
                <c:pt idx="38">
                  <c:v>66</c:v>
                </c:pt>
                <c:pt idx="39">
                  <c:v>66</c:v>
                </c:pt>
                <c:pt idx="40">
                  <c:v>47</c:v>
                </c:pt>
                <c:pt idx="41">
                  <c:v>37</c:v>
                </c:pt>
                <c:pt idx="42">
                  <c:v>68</c:v>
                </c:pt>
                <c:pt idx="43">
                  <c:v>45</c:v>
                </c:pt>
                <c:pt idx="44">
                  <c:v>52</c:v>
                </c:pt>
                <c:pt idx="45">
                  <c:v>45</c:v>
                </c:pt>
                <c:pt idx="46">
                  <c:v>115</c:v>
                </c:pt>
                <c:pt idx="47">
                  <c:v>432</c:v>
                </c:pt>
                <c:pt idx="48">
                  <c:v>365</c:v>
                </c:pt>
                <c:pt idx="49">
                  <c:v>292</c:v>
                </c:pt>
                <c:pt idx="50">
                  <c:v>248</c:v>
                </c:pt>
                <c:pt idx="51">
                  <c:v>192</c:v>
                </c:pt>
                <c:pt idx="52">
                  <c:v>148</c:v>
                </c:pt>
                <c:pt idx="53">
                  <c:v>183</c:v>
                </c:pt>
                <c:pt idx="54">
                  <c:v>195</c:v>
                </c:pt>
                <c:pt idx="55">
                  <c:v>168</c:v>
                </c:pt>
                <c:pt idx="56">
                  <c:v>129</c:v>
                </c:pt>
                <c:pt idx="57">
                  <c:v>132</c:v>
                </c:pt>
                <c:pt idx="58">
                  <c:v>94</c:v>
                </c:pt>
                <c:pt idx="59">
                  <c:v>91</c:v>
                </c:pt>
                <c:pt idx="60">
                  <c:v>92</c:v>
                </c:pt>
                <c:pt idx="61">
                  <c:v>83</c:v>
                </c:pt>
                <c:pt idx="62">
                  <c:v>75</c:v>
                </c:pt>
                <c:pt idx="63">
                  <c:v>80</c:v>
                </c:pt>
                <c:pt idx="64">
                  <c:v>64</c:v>
                </c:pt>
                <c:pt idx="65">
                  <c:v>71</c:v>
                </c:pt>
                <c:pt idx="66">
                  <c:v>69</c:v>
                </c:pt>
                <c:pt idx="67">
                  <c:v>45</c:v>
                </c:pt>
                <c:pt idx="68">
                  <c:v>76</c:v>
                </c:pt>
                <c:pt idx="69">
                  <c:v>79</c:v>
                </c:pt>
                <c:pt idx="70">
                  <c:v>73</c:v>
                </c:pt>
                <c:pt idx="71">
                  <c:v>71</c:v>
                </c:pt>
                <c:pt idx="72">
                  <c:v>62</c:v>
                </c:pt>
                <c:pt idx="73">
                  <c:v>66</c:v>
                </c:pt>
                <c:pt idx="74">
                  <c:v>72</c:v>
                </c:pt>
                <c:pt idx="75">
                  <c:v>65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5873536"/>
        <c:axId val="35875072"/>
      </c:lineChart>
      <c:catAx>
        <c:axId val="35873536"/>
        <c:scaling>
          <c:orientation val="minMax"/>
        </c:scaling>
        <c:delete val="0"/>
        <c:axPos val="b"/>
        <c:numFmt formatCode="h:mm:ss" sourceLinked="1"/>
        <c:majorTickMark val="out"/>
        <c:minorTickMark val="none"/>
        <c:tickLblPos val="nextTo"/>
        <c:spPr>
          <a:ln w="8006">
            <a:noFill/>
          </a:ln>
        </c:spPr>
        <c:txPr>
          <a:bodyPr rot="-5400000" vert="horz"/>
          <a:lstStyle/>
          <a:p>
            <a:pPr>
              <a:defRPr sz="841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35875072"/>
        <c:crosses val="autoZero"/>
        <c:auto val="1"/>
        <c:lblAlgn val="ctr"/>
        <c:lblOffset val="100"/>
        <c:tickLblSkip val="3"/>
        <c:tickMarkSkip val="1"/>
        <c:noMultiLvlLbl val="0"/>
      </c:catAx>
      <c:valAx>
        <c:axId val="35875072"/>
        <c:scaling>
          <c:orientation val="minMax"/>
        </c:scaling>
        <c:delete val="0"/>
        <c:axPos val="l"/>
        <c:majorGridlines>
          <c:spPr>
            <a:ln w="2669">
              <a:solidFill>
                <a:srgbClr val="8D8D8D"/>
              </a:solidFill>
              <a:prstDash val="sys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8006">
            <a:noFill/>
          </a:ln>
        </c:spPr>
        <c:txPr>
          <a:bodyPr rot="0" vert="horz"/>
          <a:lstStyle/>
          <a:p>
            <a:pPr>
              <a:defRPr sz="841" b="0" i="0" u="none" strike="noStrike" baseline="0">
                <a:solidFill>
                  <a:srgbClr val="8D8D8D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35873536"/>
        <c:crosses val="autoZero"/>
        <c:crossBetween val="between"/>
      </c:valAx>
      <c:spPr>
        <a:noFill/>
        <a:ln w="21350">
          <a:noFill/>
        </a:ln>
      </c:spPr>
    </c:plotArea>
    <c:legend>
      <c:legendPos val="r"/>
      <c:layout>
        <c:manualLayout>
          <c:xMode val="edge"/>
          <c:yMode val="edge"/>
          <c:x val="3.6755386565272496E-2"/>
          <c:y val="0.88250652741514357"/>
          <c:w val="0.75665399239543729"/>
          <c:h val="0.12010443864229765"/>
        </c:manualLayout>
      </c:layout>
      <c:overlay val="0"/>
      <c:spPr>
        <a:noFill/>
        <a:ln w="21350">
          <a:noFill/>
        </a:ln>
      </c:spPr>
      <c:txPr>
        <a:bodyPr/>
        <a:lstStyle/>
        <a:p>
          <a:pPr>
            <a:defRPr sz="773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de-DE"/>
        </a:p>
      </c:txPr>
    </c:legend>
    <c:plotVisOnly val="0"/>
    <c:dispBlanksAs val="gap"/>
    <c:showDLblsOverMax val="0"/>
  </c:chart>
  <c:spPr>
    <a:noFill/>
    <a:ln>
      <a:noFill/>
    </a:ln>
  </c:spPr>
  <c:txPr>
    <a:bodyPr/>
    <a:lstStyle/>
    <a:p>
      <a:pPr>
        <a:defRPr sz="1744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27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5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87655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6230F290-9357-4C21-8B6F-2C4D97A6F5AF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69636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3563"/>
            <a:ext cx="2952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69637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9453563"/>
            <a:ext cx="28765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474FC86B-0E48-4619-AAEA-8A56223D28FC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4199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D77F1272-DD52-4C25-A8DB-853F0670EBDA}" type="datetimeFigureOut">
              <a:rPr lang="de-DE"/>
              <a:pPr/>
              <a:t>08.1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2550" y="744538"/>
            <a:ext cx="66294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6463"/>
            <a:ext cx="5435600" cy="447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182" tIns="46090" rIns="92182" bIns="46090" numCol="1" anchor="b" anchorCtr="0" compatLnSpc="1">
            <a:prstTxWarp prst="textNoShape">
              <a:avLst/>
            </a:prstTxWarp>
          </a:bodyPr>
          <a:lstStyle>
            <a:lvl1pPr algn="r" defTabSz="922338">
              <a:spcBef>
                <a:spcPct val="0"/>
              </a:spcBef>
              <a:defRPr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19ADE2C7-A655-4B79-8F95-75EEB167FF86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06099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74894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49787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424681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9957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374468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849362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324255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99149" algn="l" defTabSz="94978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902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9146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8248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0797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1.emf"/><Relationship Id="rId26" Type="http://schemas.openxmlformats.org/officeDocument/2006/relationships/image" Target="../media/image11.png"/><Relationship Id="rId3" Type="http://schemas.openxmlformats.org/officeDocument/2006/relationships/tags" Target="../tags/tag10.xml"/><Relationship Id="rId21" Type="http://schemas.openxmlformats.org/officeDocument/2006/relationships/image" Target="../media/image2.pn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2.bin"/><Relationship Id="rId25" Type="http://schemas.openxmlformats.org/officeDocument/2006/relationships/image" Target="../media/image10.png"/><Relationship Id="rId2" Type="http://schemas.openxmlformats.org/officeDocument/2006/relationships/tags" Target="../tags/tag9.xml"/><Relationship Id="rId16" Type="http://schemas.openxmlformats.org/officeDocument/2006/relationships/slideMaster" Target="../slideMasters/slideMaster1.xml"/><Relationship Id="rId20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9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image" Target="../media/image8.png"/><Relationship Id="rId10" Type="http://schemas.openxmlformats.org/officeDocument/2006/relationships/tags" Target="../tags/tag17.xml"/><Relationship Id="rId19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7.png"/><Relationship Id="rId27" Type="http://schemas.openxmlformats.org/officeDocument/2006/relationships/image" Target="../media/image1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openxmlformats.org/officeDocument/2006/relationships/image" Target="../media/image16.png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image" Target="../media/image15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image" Target="../media/image14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slideMaster" Target="../slideMasters/slideMaster1.xml"/><Relationship Id="rId36" Type="http://schemas.openxmlformats.org/officeDocument/2006/relationships/image" Target="../media/image18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image" Target="../media/image13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image" Target="../media/image1.emf"/><Relationship Id="rId35" Type="http://schemas.openxmlformats.org/officeDocument/2006/relationships/image" Target="../media/image1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" Type="http://schemas.openxmlformats.org/officeDocument/2006/relationships/tags" Target="../tags/tag50.xml"/><Relationship Id="rId21" Type="http://schemas.openxmlformats.org/officeDocument/2006/relationships/tags" Target="../tags/tag68.xml"/><Relationship Id="rId34" Type="http://schemas.openxmlformats.org/officeDocument/2006/relationships/image" Target="../media/image15.png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image" Target="../media/image14.png"/><Relationship Id="rId38" Type="http://schemas.openxmlformats.org/officeDocument/2006/relationships/image" Target="../media/image19.png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image" Target="../media/image17.png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31" Type="http://schemas.openxmlformats.org/officeDocument/2006/relationships/image" Target="../media/image1.emf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1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2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openxmlformats.org/officeDocument/2006/relationships/image" Target="../media/image15.pn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image" Target="../media/image14.png"/><Relationship Id="rId38" Type="http://schemas.openxmlformats.org/officeDocument/2006/relationships/image" Target="../media/image20.png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image" Target="../media/image17.png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oleObject" Target="../embeddings/oleObject5.bin"/><Relationship Id="rId35" Type="http://schemas.openxmlformats.org/officeDocument/2006/relationships/image" Target="../media/image16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26" Type="http://schemas.openxmlformats.org/officeDocument/2006/relationships/tags" Target="../tags/tag127.xml"/><Relationship Id="rId3" Type="http://schemas.openxmlformats.org/officeDocument/2006/relationships/tags" Target="../tags/tag104.xml"/><Relationship Id="rId21" Type="http://schemas.openxmlformats.org/officeDocument/2006/relationships/tags" Target="../tags/tag122.xml"/><Relationship Id="rId34" Type="http://schemas.openxmlformats.org/officeDocument/2006/relationships/image" Target="../media/image15.png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tags" Target="../tags/tag126.xml"/><Relationship Id="rId33" Type="http://schemas.openxmlformats.org/officeDocument/2006/relationships/image" Target="../media/image14.png"/><Relationship Id="rId38" Type="http://schemas.openxmlformats.org/officeDocument/2006/relationships/image" Target="../media/image21.png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tags" Target="../tags/tag121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tags" Target="../tags/tag125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image" Target="../media/image17.png"/><Relationship Id="rId10" Type="http://schemas.openxmlformats.org/officeDocument/2006/relationships/tags" Target="../tags/tag111.xml"/><Relationship Id="rId19" Type="http://schemas.openxmlformats.org/officeDocument/2006/relationships/tags" Target="../tags/tag120.xml"/><Relationship Id="rId31" Type="http://schemas.openxmlformats.org/officeDocument/2006/relationships/image" Target="../media/image1.emf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tags" Target="../tags/tag123.xml"/><Relationship Id="rId27" Type="http://schemas.openxmlformats.org/officeDocument/2006/relationships/tags" Target="../tags/tag128.xml"/><Relationship Id="rId30" Type="http://schemas.openxmlformats.org/officeDocument/2006/relationships/oleObject" Target="../embeddings/oleObject6.bin"/><Relationship Id="rId35" Type="http://schemas.openxmlformats.org/officeDocument/2006/relationships/image" Target="../media/image16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tags" Target="../tags/tag141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tags" Target="../tags/tag131.xml"/><Relationship Id="rId21" Type="http://schemas.openxmlformats.org/officeDocument/2006/relationships/tags" Target="../tags/tag149.xml"/><Relationship Id="rId34" Type="http://schemas.openxmlformats.org/officeDocument/2006/relationships/image" Target="../media/image15.png"/><Relationship Id="rId7" Type="http://schemas.openxmlformats.org/officeDocument/2006/relationships/tags" Target="../tags/tag135.xml"/><Relationship Id="rId12" Type="http://schemas.openxmlformats.org/officeDocument/2006/relationships/tags" Target="../tags/tag140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33" Type="http://schemas.openxmlformats.org/officeDocument/2006/relationships/image" Target="../media/image14.png"/><Relationship Id="rId38" Type="http://schemas.openxmlformats.org/officeDocument/2006/relationships/image" Target="../media/image22.png"/><Relationship Id="rId2" Type="http://schemas.openxmlformats.org/officeDocument/2006/relationships/tags" Target="../tags/tag130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34.xml"/><Relationship Id="rId11" Type="http://schemas.openxmlformats.org/officeDocument/2006/relationships/tags" Target="../tags/tag139.xml"/><Relationship Id="rId24" Type="http://schemas.openxmlformats.org/officeDocument/2006/relationships/tags" Target="../tags/tag152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33.xml"/><Relationship Id="rId15" Type="http://schemas.openxmlformats.org/officeDocument/2006/relationships/tags" Target="../tags/tag143.xml"/><Relationship Id="rId23" Type="http://schemas.openxmlformats.org/officeDocument/2006/relationships/tags" Target="../tags/tag151.xml"/><Relationship Id="rId28" Type="http://schemas.openxmlformats.org/officeDocument/2006/relationships/tags" Target="../tags/tag156.xml"/><Relationship Id="rId36" Type="http://schemas.openxmlformats.org/officeDocument/2006/relationships/image" Target="../media/image17.png"/><Relationship Id="rId10" Type="http://schemas.openxmlformats.org/officeDocument/2006/relationships/tags" Target="../tags/tag138.xml"/><Relationship Id="rId19" Type="http://schemas.openxmlformats.org/officeDocument/2006/relationships/tags" Target="../tags/tag147.xml"/><Relationship Id="rId31" Type="http://schemas.openxmlformats.org/officeDocument/2006/relationships/image" Target="../media/image1.emf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tags" Target="../tags/tag142.xml"/><Relationship Id="rId22" Type="http://schemas.openxmlformats.org/officeDocument/2006/relationships/tags" Target="../tags/tag150.xml"/><Relationship Id="rId27" Type="http://schemas.openxmlformats.org/officeDocument/2006/relationships/tags" Target="../tags/tag155.xml"/><Relationship Id="rId30" Type="http://schemas.openxmlformats.org/officeDocument/2006/relationships/oleObject" Target="../embeddings/oleObject7.bin"/><Relationship Id="rId35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tags" Target="../tags/tag173.xml"/><Relationship Id="rId26" Type="http://schemas.openxmlformats.org/officeDocument/2006/relationships/tags" Target="../tags/tag181.xml"/><Relationship Id="rId3" Type="http://schemas.openxmlformats.org/officeDocument/2006/relationships/tags" Target="../tags/tag158.xml"/><Relationship Id="rId21" Type="http://schemas.openxmlformats.org/officeDocument/2006/relationships/tags" Target="../tags/tag176.xml"/><Relationship Id="rId34" Type="http://schemas.openxmlformats.org/officeDocument/2006/relationships/image" Target="../media/image15.png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tags" Target="../tags/tag172.xml"/><Relationship Id="rId25" Type="http://schemas.openxmlformats.org/officeDocument/2006/relationships/tags" Target="../tags/tag180.xml"/><Relationship Id="rId33" Type="http://schemas.openxmlformats.org/officeDocument/2006/relationships/image" Target="../media/image14.png"/><Relationship Id="rId38" Type="http://schemas.openxmlformats.org/officeDocument/2006/relationships/image" Target="../media/image23.png"/><Relationship Id="rId2" Type="http://schemas.openxmlformats.org/officeDocument/2006/relationships/tags" Target="../tags/tag157.xml"/><Relationship Id="rId16" Type="http://schemas.openxmlformats.org/officeDocument/2006/relationships/tags" Target="../tags/tag171.xml"/><Relationship Id="rId20" Type="http://schemas.openxmlformats.org/officeDocument/2006/relationships/tags" Target="../tags/tag175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24" Type="http://schemas.openxmlformats.org/officeDocument/2006/relationships/tags" Target="../tags/tag179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60.xml"/><Relationship Id="rId15" Type="http://schemas.openxmlformats.org/officeDocument/2006/relationships/tags" Target="../tags/tag170.xml"/><Relationship Id="rId23" Type="http://schemas.openxmlformats.org/officeDocument/2006/relationships/tags" Target="../tags/tag178.xml"/><Relationship Id="rId28" Type="http://schemas.openxmlformats.org/officeDocument/2006/relationships/tags" Target="../tags/tag183.xml"/><Relationship Id="rId36" Type="http://schemas.openxmlformats.org/officeDocument/2006/relationships/image" Target="../media/image17.png"/><Relationship Id="rId10" Type="http://schemas.openxmlformats.org/officeDocument/2006/relationships/tags" Target="../tags/tag165.xml"/><Relationship Id="rId19" Type="http://schemas.openxmlformats.org/officeDocument/2006/relationships/tags" Target="../tags/tag174.xml"/><Relationship Id="rId31" Type="http://schemas.openxmlformats.org/officeDocument/2006/relationships/image" Target="../media/image1.emf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4" Type="http://schemas.openxmlformats.org/officeDocument/2006/relationships/tags" Target="../tags/tag169.xml"/><Relationship Id="rId22" Type="http://schemas.openxmlformats.org/officeDocument/2006/relationships/tags" Target="../tags/tag177.xml"/><Relationship Id="rId27" Type="http://schemas.openxmlformats.org/officeDocument/2006/relationships/tags" Target="../tags/tag182.xml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tags" Target="../tags/tag195.xml"/><Relationship Id="rId18" Type="http://schemas.openxmlformats.org/officeDocument/2006/relationships/tags" Target="../tags/tag200.xml"/><Relationship Id="rId26" Type="http://schemas.openxmlformats.org/officeDocument/2006/relationships/tags" Target="../tags/tag208.xml"/><Relationship Id="rId3" Type="http://schemas.openxmlformats.org/officeDocument/2006/relationships/tags" Target="../tags/tag185.xml"/><Relationship Id="rId21" Type="http://schemas.openxmlformats.org/officeDocument/2006/relationships/tags" Target="../tags/tag203.xml"/><Relationship Id="rId34" Type="http://schemas.openxmlformats.org/officeDocument/2006/relationships/image" Target="../media/image15.png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17" Type="http://schemas.openxmlformats.org/officeDocument/2006/relationships/tags" Target="../tags/tag199.xml"/><Relationship Id="rId25" Type="http://schemas.openxmlformats.org/officeDocument/2006/relationships/tags" Target="../tags/tag207.xml"/><Relationship Id="rId33" Type="http://schemas.openxmlformats.org/officeDocument/2006/relationships/image" Target="../media/image14.png"/><Relationship Id="rId38" Type="http://schemas.openxmlformats.org/officeDocument/2006/relationships/image" Target="../media/image24.png"/><Relationship Id="rId2" Type="http://schemas.openxmlformats.org/officeDocument/2006/relationships/tags" Target="../tags/tag184.xml"/><Relationship Id="rId16" Type="http://schemas.openxmlformats.org/officeDocument/2006/relationships/tags" Target="../tags/tag198.xml"/><Relationship Id="rId20" Type="http://schemas.openxmlformats.org/officeDocument/2006/relationships/tags" Target="../tags/tag202.xml"/><Relationship Id="rId29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24" Type="http://schemas.openxmlformats.org/officeDocument/2006/relationships/tags" Target="../tags/tag206.xml"/><Relationship Id="rId32" Type="http://schemas.openxmlformats.org/officeDocument/2006/relationships/image" Target="../media/image13.png"/><Relationship Id="rId37" Type="http://schemas.openxmlformats.org/officeDocument/2006/relationships/image" Target="../media/image18.png"/><Relationship Id="rId5" Type="http://schemas.openxmlformats.org/officeDocument/2006/relationships/tags" Target="../tags/tag187.xml"/><Relationship Id="rId15" Type="http://schemas.openxmlformats.org/officeDocument/2006/relationships/tags" Target="../tags/tag197.xml"/><Relationship Id="rId23" Type="http://schemas.openxmlformats.org/officeDocument/2006/relationships/tags" Target="../tags/tag205.xml"/><Relationship Id="rId28" Type="http://schemas.openxmlformats.org/officeDocument/2006/relationships/tags" Target="../tags/tag210.xml"/><Relationship Id="rId36" Type="http://schemas.openxmlformats.org/officeDocument/2006/relationships/image" Target="../media/image17.png"/><Relationship Id="rId10" Type="http://schemas.openxmlformats.org/officeDocument/2006/relationships/tags" Target="../tags/tag192.xml"/><Relationship Id="rId19" Type="http://schemas.openxmlformats.org/officeDocument/2006/relationships/tags" Target="../tags/tag201.xml"/><Relationship Id="rId31" Type="http://schemas.openxmlformats.org/officeDocument/2006/relationships/image" Target="../media/image1.emf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tags" Target="../tags/tag196.xml"/><Relationship Id="rId22" Type="http://schemas.openxmlformats.org/officeDocument/2006/relationships/tags" Target="../tags/tag204.xml"/><Relationship Id="rId27" Type="http://schemas.openxmlformats.org/officeDocument/2006/relationships/tags" Target="../tags/tag209.xml"/><Relationship Id="rId30" Type="http://schemas.openxmlformats.org/officeDocument/2006/relationships/oleObject" Target="../embeddings/oleObject9.bin"/><Relationship Id="rId35" Type="http://schemas.openxmlformats.org/officeDocument/2006/relationships/image" Target="../media/image16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252185"/>
              </p:ext>
            </p:extLst>
          </p:nvPr>
        </p:nvGraphicFramePr>
        <p:xfrm>
          <a:off x="1651" y="1648"/>
          <a:ext cx="1649" cy="16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0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51" y="1648"/>
                        <a:ext cx="1649" cy="16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670" name="Inhaltsplatzhalter 11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578445" y="1032870"/>
            <a:ext cx="3152287" cy="175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 dirty="0">
                <a:latin typeface="Arial" pitchFamily="34" charset="0"/>
                <a:cs typeface="Arial" pitchFamily="34" charset="0"/>
              </a:rPr>
              <a:t>Ein Unternehmen der </a:t>
            </a:r>
            <a:r>
              <a:rPr lang="de-DE" sz="1100" dirty="0" smtClean="0">
                <a:latin typeface="Arial" pitchFamily="34" charset="0"/>
                <a:cs typeface="Arial" pitchFamily="34" charset="0"/>
              </a:rPr>
              <a:t>ProSiebenSat.1 </a:t>
            </a:r>
            <a:r>
              <a:rPr lang="de-DE" sz="1100" dirty="0">
                <a:latin typeface="Arial" pitchFamily="34" charset="0"/>
                <a:cs typeface="Arial" pitchFamily="34" charset="0"/>
              </a:rPr>
              <a:t>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 userDrawn="1">
            <p:ph type="ctrTitle" sz="quarter"/>
            <p:custDataLst>
              <p:tags r:id="rId4"/>
            </p:custDataLst>
          </p:nvPr>
        </p:nvSpPr>
        <p:spPr>
          <a:xfrm>
            <a:off x="1356643" y="3488213"/>
            <a:ext cx="6108237" cy="95796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lnSpc>
                <a:spcPct val="100000"/>
              </a:lnSpc>
              <a:spcAft>
                <a:spcPct val="0"/>
              </a:spcAft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113672" name="Rectangle 8"/>
          <p:cNvSpPr>
            <a:spLocks noGrp="1" noChangeArrowheads="1"/>
          </p:cNvSpPr>
          <p:nvPr userDrawn="1">
            <p:ph type="subTitle" sz="quarter" idx="1"/>
            <p:custDataLst>
              <p:tags r:id="rId5"/>
            </p:custDataLst>
          </p:nvPr>
        </p:nvSpPr>
        <p:spPr>
          <a:xfrm>
            <a:off x="1356643" y="4558603"/>
            <a:ext cx="6108237" cy="2308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  <p:custDataLst>
              <p:tags r:id="rId6"/>
            </p:custDataLst>
          </p:nvPr>
        </p:nvSpPr>
        <p:spPr>
          <a:xfrm>
            <a:off x="1356643" y="3248766"/>
            <a:ext cx="4065489" cy="175627"/>
          </a:xfrm>
        </p:spPr>
        <p:txBody>
          <a:bodyPr anchor="b"/>
          <a:lstStyle>
            <a:lvl1pPr>
              <a:lnSpc>
                <a:spcPct val="100000"/>
              </a:lnSpc>
              <a:defRPr sz="1100"/>
            </a:lvl1pPr>
          </a:lstStyle>
          <a:p>
            <a:pPr lvl="0"/>
            <a:r>
              <a:rPr lang="de-DE" dirty="0" smtClean="0"/>
              <a:t>Ort, Datum</a:t>
            </a:r>
            <a:endParaRPr lang="en-GB" dirty="0"/>
          </a:p>
        </p:txBody>
      </p:sp>
      <p:pic>
        <p:nvPicPr>
          <p:cNvPr id="23" name="Grafik 6" descr="SevenOne_Logo.pn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8072" y="265818"/>
            <a:ext cx="1483780" cy="4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8" descr="71M_Claim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33966" y="288665"/>
            <a:ext cx="1406431" cy="13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5" descr="Bottom_Media.pn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" name="Gruppieren 25"/>
          <p:cNvGrpSpPr/>
          <p:nvPr userDrawn="1">
            <p:custDataLst>
              <p:tags r:id="rId10"/>
            </p:custDataLst>
          </p:nvPr>
        </p:nvGrpSpPr>
        <p:grpSpPr>
          <a:xfrm>
            <a:off x="1356643" y="5597462"/>
            <a:ext cx="3527835" cy="216000"/>
            <a:chOff x="1077618" y="6514307"/>
            <a:chExt cx="3527835" cy="216000"/>
          </a:xfrm>
        </p:grpSpPr>
        <p:cxnSp>
          <p:nvCxnSpPr>
            <p:cNvPr id="27" name="Gerade Verbindung 26"/>
            <p:cNvCxnSpPr/>
            <p:nvPr userDrawn="1">
              <p:custDataLst>
                <p:tags r:id="rId11"/>
              </p:custDataLst>
            </p:nvPr>
          </p:nvCxnSpPr>
          <p:spPr>
            <a:xfrm>
              <a:off x="141861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>
              <p:custDataLst>
                <p:tags r:id="rId12"/>
              </p:custDataLst>
            </p:nvPr>
          </p:nvCxnSpPr>
          <p:spPr>
            <a:xfrm>
              <a:off x="1899535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>
              <p:custDataLst>
                <p:tags r:id="rId13"/>
              </p:custDataLst>
            </p:nvPr>
          </p:nvCxnSpPr>
          <p:spPr>
            <a:xfrm>
              <a:off x="243696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>
              <p:custDataLst>
                <p:tags r:id="rId14"/>
              </p:custDataLst>
            </p:nvPr>
          </p:nvCxnSpPr>
          <p:spPr>
            <a:xfrm>
              <a:off x="3228112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>
              <p:custDataLst>
                <p:tags r:id="rId15"/>
              </p:custDataLst>
            </p:nvPr>
          </p:nvCxnSpPr>
          <p:spPr>
            <a:xfrm>
              <a:off x="4071658" y="6514307"/>
              <a:ext cx="0" cy="2160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3" name="Grafik 32"/>
            <p:cNvPicPr>
              <a:picLocks noChangeAspect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25945" y="6564706"/>
              <a:ext cx="379508" cy="117273"/>
            </a:xfrm>
            <a:prstGeom prst="rect">
              <a:avLst/>
            </a:prstGeom>
          </p:spPr>
        </p:pic>
        <p:pic>
          <p:nvPicPr>
            <p:cNvPr id="34" name="Grafik 33"/>
            <p:cNvPicPr>
              <a:picLocks noChangeAspect="1"/>
            </p:cNvPicPr>
            <p:nvPr userDrawn="1"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9109" y="6550307"/>
              <a:ext cx="521552" cy="144000"/>
            </a:xfrm>
            <a:prstGeom prst="rect">
              <a:avLst/>
            </a:prstGeom>
          </p:spPr>
        </p:pic>
        <p:pic>
          <p:nvPicPr>
            <p:cNvPr id="35" name="Grafik 34"/>
            <p:cNvPicPr>
              <a:picLocks noChangeAspect="1"/>
            </p:cNvPicPr>
            <p:nvPr userDrawn="1"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7960" y="6559886"/>
              <a:ext cx="469156" cy="105795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 userDrawn="1"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60533" y="6550307"/>
              <a:ext cx="215432" cy="144000"/>
            </a:xfrm>
            <a:prstGeom prst="rect">
              <a:avLst/>
            </a:prstGeom>
          </p:spPr>
        </p:pic>
        <p:pic>
          <p:nvPicPr>
            <p:cNvPr id="37" name="Grafik 36"/>
            <p:cNvPicPr>
              <a:picLocks noChangeAspect="1"/>
            </p:cNvPicPr>
            <p:nvPr userDrawn="1"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79612" y="6541305"/>
              <a:ext cx="158926" cy="162002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 userDrawn="1"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7618" y="6532307"/>
              <a:ext cx="180000" cy="1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15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07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geseite Inhalt 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19" y="1026849"/>
            <a:ext cx="9891162" cy="43745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1078672" y="1288331"/>
            <a:ext cx="8480228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Line 120"/>
          <p:cNvSpPr>
            <a:spLocks noChangeShapeType="1"/>
          </p:cNvSpPr>
          <p:nvPr userDrawn="1"/>
        </p:nvSpPr>
        <p:spPr bwMode="auto">
          <a:xfrm flipH="1">
            <a:off x="1545131" y="5574349"/>
            <a:ext cx="2381" cy="241727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de-DE" sz="1000">
              <a:solidFill>
                <a:srgbClr val="8D8D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 userDrawn="1"/>
        </p:nvSpPr>
        <p:spPr bwMode="auto">
          <a:xfrm>
            <a:off x="1569456" y="5579135"/>
            <a:ext cx="715394" cy="24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rgbClr val="464646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50000"/>
              </a:spcBef>
              <a:spcAft>
                <a:spcPct val="0"/>
              </a:spcAft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rgbClr val="464646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defRPr/>
            </a:pPr>
            <a:fld id="{BC579D93-F68C-43CC-88D3-4656DCEA18C4}" type="slidenum">
              <a:rPr lang="de-DE" smtClean="0">
                <a:solidFill>
                  <a:srgbClr val="8D8D8D"/>
                </a:solidFill>
              </a:rPr>
              <a:pPr algn="l">
                <a:defRPr/>
              </a:pPr>
              <a:t>‹Nr.›</a:t>
            </a:fld>
            <a:endParaRPr lang="de-DE" dirty="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96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1M Senderlogos 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865851" y="1288333"/>
            <a:ext cx="8478407" cy="1115690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7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9004102" y="5640459"/>
            <a:ext cx="203582" cy="123111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41655D-2E81-40A0-8C02-5E2EE3E3B0D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8" name="Datumsplatzhalter 4"/>
          <p:cNvSpPr>
            <a:spLocks noGrp="1"/>
          </p:cNvSpPr>
          <p:nvPr>
            <p:ph type="dt" sz="half" idx="11"/>
          </p:nvPr>
        </p:nvSpPr>
        <p:spPr>
          <a:xfrm>
            <a:off x="8361695" y="5640132"/>
            <a:ext cx="595115" cy="123766"/>
          </a:xfrm>
          <a:prstGeom prst="rect">
            <a:avLst/>
          </a:prstGeom>
        </p:spPr>
        <p:txBody>
          <a:bodyPr lIns="104708" tIns="52354" rIns="104708" bIns="52354"/>
          <a:lstStyle>
            <a:lvl1pPr>
              <a:defRPr/>
            </a:lvl1pPr>
          </a:lstStyle>
          <a:p>
            <a:fld id="{D577CCAB-29A9-4DFD-9456-77DF01D26854}" type="datetime1">
              <a:rPr lang="de-DE"/>
              <a:pPr/>
              <a:t>08.11.2016</a:t>
            </a:fld>
            <a:endParaRPr lang="de-DE" dirty="0"/>
          </a:p>
        </p:txBody>
      </p:sp>
      <p:pic>
        <p:nvPicPr>
          <p:cNvPr id="19" name="Grafik 6" descr="SevenOne_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62986" y="5580940"/>
            <a:ext cx="831286" cy="229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sat_logo-grau_174_174_17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7622" y="354657"/>
            <a:ext cx="200091" cy="20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K1_WB_RGB_Grau_174_174_17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8843" y="365719"/>
            <a:ext cx="254661" cy="171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Line 11"/>
          <p:cNvSpPr>
            <a:spLocks noChangeShapeType="1"/>
          </p:cNvSpPr>
          <p:nvPr/>
        </p:nvSpPr>
        <p:spPr bwMode="auto">
          <a:xfrm>
            <a:off x="7535023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0" name="Line 12"/>
          <p:cNvSpPr>
            <a:spLocks noChangeShapeType="1"/>
          </p:cNvSpPr>
          <p:nvPr/>
        </p:nvSpPr>
        <p:spPr bwMode="auto">
          <a:xfrm>
            <a:off x="7864264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sp>
        <p:nvSpPr>
          <p:cNvPr id="12" name="Line 13"/>
          <p:cNvSpPr>
            <a:spLocks noChangeShapeType="1"/>
          </p:cNvSpPr>
          <p:nvPr/>
        </p:nvSpPr>
        <p:spPr bwMode="auto">
          <a:xfrm>
            <a:off x="8275361" y="347280"/>
            <a:ext cx="0" cy="208364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>
            <a:spAutoFit/>
          </a:bodyPr>
          <a:lstStyle/>
          <a:p>
            <a:endParaRPr lang="de-DE"/>
          </a:p>
        </p:txBody>
      </p:sp>
      <p:pic>
        <p:nvPicPr>
          <p:cNvPr id="13" name="Picture 14" descr="sixx_grau_174_174_17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1753" y="387848"/>
            <a:ext cx="491133" cy="112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7611421" y="360188"/>
            <a:ext cx="174625" cy="180705"/>
            <a:chOff x="947" y="4121"/>
            <a:chExt cx="130" cy="132"/>
          </a:xfrm>
        </p:grpSpPr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947" y="4121"/>
              <a:ext cx="130" cy="36"/>
            </a:xfrm>
            <a:prstGeom prst="rect">
              <a:avLst/>
            </a:pr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947" y="4164"/>
              <a:ext cx="130" cy="89"/>
            </a:xfrm>
            <a:custGeom>
              <a:avLst/>
              <a:gdLst>
                <a:gd name="T0" fmla="*/ 130 w 594"/>
                <a:gd name="T1" fmla="*/ 0 h 410"/>
                <a:gd name="T2" fmla="*/ 130 w 594"/>
                <a:gd name="T3" fmla="*/ 89 h 410"/>
                <a:gd name="T4" fmla="*/ 0 w 594"/>
                <a:gd name="T5" fmla="*/ 89 h 410"/>
                <a:gd name="T6" fmla="*/ 0 w 594"/>
                <a:gd name="T7" fmla="*/ 89 h 410"/>
                <a:gd name="T8" fmla="*/ 3 w 594"/>
                <a:gd name="T9" fmla="*/ 82 h 410"/>
                <a:gd name="T10" fmla="*/ 7 w 594"/>
                <a:gd name="T11" fmla="*/ 74 h 410"/>
                <a:gd name="T12" fmla="*/ 13 w 594"/>
                <a:gd name="T13" fmla="*/ 64 h 410"/>
                <a:gd name="T14" fmla="*/ 17 w 594"/>
                <a:gd name="T15" fmla="*/ 59 h 410"/>
                <a:gd name="T16" fmla="*/ 21 w 594"/>
                <a:gd name="T17" fmla="*/ 53 h 410"/>
                <a:gd name="T18" fmla="*/ 26 w 594"/>
                <a:gd name="T19" fmla="*/ 48 h 410"/>
                <a:gd name="T20" fmla="*/ 31 w 594"/>
                <a:gd name="T21" fmla="*/ 42 h 410"/>
                <a:gd name="T22" fmla="*/ 37 w 594"/>
                <a:gd name="T23" fmla="*/ 36 h 410"/>
                <a:gd name="T24" fmla="*/ 43 w 594"/>
                <a:gd name="T25" fmla="*/ 31 h 410"/>
                <a:gd name="T26" fmla="*/ 50 w 594"/>
                <a:gd name="T27" fmla="*/ 26 h 410"/>
                <a:gd name="T28" fmla="*/ 58 w 594"/>
                <a:gd name="T29" fmla="*/ 20 h 410"/>
                <a:gd name="T30" fmla="*/ 58 w 594"/>
                <a:gd name="T31" fmla="*/ 20 h 410"/>
                <a:gd name="T32" fmla="*/ 65 w 594"/>
                <a:gd name="T33" fmla="*/ 16 h 410"/>
                <a:gd name="T34" fmla="*/ 72 w 594"/>
                <a:gd name="T35" fmla="*/ 13 h 410"/>
                <a:gd name="T36" fmla="*/ 79 w 594"/>
                <a:gd name="T37" fmla="*/ 10 h 410"/>
                <a:gd name="T38" fmla="*/ 86 w 594"/>
                <a:gd name="T39" fmla="*/ 7 h 410"/>
                <a:gd name="T40" fmla="*/ 92 w 594"/>
                <a:gd name="T41" fmla="*/ 5 h 410"/>
                <a:gd name="T42" fmla="*/ 98 w 594"/>
                <a:gd name="T43" fmla="*/ 3 h 410"/>
                <a:gd name="T44" fmla="*/ 109 w 594"/>
                <a:gd name="T45" fmla="*/ 1 h 410"/>
                <a:gd name="T46" fmla="*/ 118 w 594"/>
                <a:gd name="T47" fmla="*/ 0 h 410"/>
                <a:gd name="T48" fmla="*/ 124 w 594"/>
                <a:gd name="T49" fmla="*/ 0 h 410"/>
                <a:gd name="T50" fmla="*/ 130 w 594"/>
                <a:gd name="T51" fmla="*/ 0 h 410"/>
                <a:gd name="T52" fmla="*/ 130 w 594"/>
                <a:gd name="T53" fmla="*/ 0 h 4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94"/>
                <a:gd name="T82" fmla="*/ 0 h 410"/>
                <a:gd name="T83" fmla="*/ 594 w 594"/>
                <a:gd name="T84" fmla="*/ 410 h 41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94" h="410">
                  <a:moveTo>
                    <a:pt x="594" y="2"/>
                  </a:moveTo>
                  <a:lnTo>
                    <a:pt x="594" y="410"/>
                  </a:lnTo>
                  <a:lnTo>
                    <a:pt x="0" y="410"/>
                  </a:lnTo>
                  <a:lnTo>
                    <a:pt x="14" y="376"/>
                  </a:lnTo>
                  <a:lnTo>
                    <a:pt x="34" y="340"/>
                  </a:lnTo>
                  <a:lnTo>
                    <a:pt x="60" y="296"/>
                  </a:lnTo>
                  <a:lnTo>
                    <a:pt x="78" y="272"/>
                  </a:lnTo>
                  <a:lnTo>
                    <a:pt x="96" y="246"/>
                  </a:lnTo>
                  <a:lnTo>
                    <a:pt x="118" y="220"/>
                  </a:lnTo>
                  <a:lnTo>
                    <a:pt x="142" y="194"/>
                  </a:lnTo>
                  <a:lnTo>
                    <a:pt x="168" y="166"/>
                  </a:lnTo>
                  <a:lnTo>
                    <a:pt x="198" y="142"/>
                  </a:lnTo>
                  <a:lnTo>
                    <a:pt x="230" y="118"/>
                  </a:lnTo>
                  <a:lnTo>
                    <a:pt x="264" y="94"/>
                  </a:lnTo>
                  <a:lnTo>
                    <a:pt x="298" y="74"/>
                  </a:lnTo>
                  <a:lnTo>
                    <a:pt x="330" y="58"/>
                  </a:lnTo>
                  <a:lnTo>
                    <a:pt x="362" y="44"/>
                  </a:lnTo>
                  <a:lnTo>
                    <a:pt x="392" y="32"/>
                  </a:lnTo>
                  <a:lnTo>
                    <a:pt x="422" y="24"/>
                  </a:lnTo>
                  <a:lnTo>
                    <a:pt x="448" y="16"/>
                  </a:lnTo>
                  <a:lnTo>
                    <a:pt x="498" y="6"/>
                  </a:lnTo>
                  <a:lnTo>
                    <a:pt x="538" y="2"/>
                  </a:lnTo>
                  <a:lnTo>
                    <a:pt x="568" y="0"/>
                  </a:lnTo>
                  <a:lnTo>
                    <a:pt x="594" y="2"/>
                  </a:lnTo>
                  <a:close/>
                </a:path>
              </a:pathLst>
            </a:custGeom>
            <a:solidFill>
              <a:srgbClr val="AE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7518" y="377800"/>
            <a:ext cx="562949" cy="155514"/>
          </a:xfrm>
          <a:prstGeom prst="rect">
            <a:avLst/>
          </a:prstGeom>
        </p:spPr>
      </p:pic>
      <p:sp>
        <p:nvSpPr>
          <p:cNvPr id="30" name="Line 122"/>
          <p:cNvSpPr>
            <a:spLocks noChangeShapeType="1"/>
          </p:cNvSpPr>
          <p:nvPr userDrawn="1"/>
        </p:nvSpPr>
        <p:spPr bwMode="auto">
          <a:xfrm>
            <a:off x="8911687" y="347281"/>
            <a:ext cx="0" cy="209233"/>
          </a:xfrm>
          <a:prstGeom prst="line">
            <a:avLst/>
          </a:prstGeom>
          <a:noFill/>
          <a:ln w="6350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de-DE" sz="800">
              <a:solidFill>
                <a:srgbClr val="8D8D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888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682488"/>
            <a:ext cx="5210270" cy="538609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1923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92360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E423966D-10DD-44CC-9294-5804979844A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>
          <a:xfrm>
            <a:off x="8029113" y="5600007"/>
            <a:ext cx="927695" cy="18385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E84999-87CB-44AB-B4F0-C0C9A0B02A84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892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667" name="Grafik 6" descr="Head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666" name="Grafik 5" descr="Bottom_Media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670" name="Inhaltsplatzhalter 11"/>
          <p:cNvSpPr>
            <a:spLocks/>
          </p:cNvSpPr>
          <p:nvPr/>
        </p:nvSpPr>
        <p:spPr bwMode="auto">
          <a:xfrm>
            <a:off x="578445" y="1067706"/>
            <a:ext cx="3032882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40000"/>
              </a:spcBef>
              <a:buClr>
                <a:srgbClr val="E00000"/>
              </a:buClr>
            </a:pPr>
            <a:r>
              <a:rPr lang="de-DE" sz="1100">
                <a:latin typeface="Arial" pitchFamily="34" charset="0"/>
                <a:cs typeface="Arial" pitchFamily="34" charset="0"/>
              </a:rPr>
              <a:t>Ein Unternehmen der ProSiebenSat.1 Media AG</a:t>
            </a:r>
          </a:p>
        </p:txBody>
      </p:sp>
      <p:sp>
        <p:nvSpPr>
          <p:cNvPr id="113671" name="Rectangle 7"/>
          <p:cNvSpPr>
            <a:spLocks noGrp="1" noChangeArrowheads="1"/>
          </p:cNvSpPr>
          <p:nvPr>
            <p:ph type="ctrTitle" sz="quarter"/>
          </p:nvPr>
        </p:nvSpPr>
        <p:spPr>
          <a:xfrm>
            <a:off x="1226013" y="2292044"/>
            <a:ext cx="5791729" cy="92333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spAutoFit/>
          </a:bodyPr>
          <a:lstStyle>
            <a:lvl1pPr>
              <a:defRPr sz="3000" smtClean="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113672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26013" y="3336580"/>
            <a:ext cx="5791729" cy="230832"/>
          </a:xfrm>
        </p:spPr>
        <p:txBody>
          <a:bodyPr/>
          <a:lstStyle>
            <a:lvl1pPr marL="0" indent="0">
              <a:buFontTx/>
              <a:buNone/>
              <a:defRPr sz="1500" smtClean="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pic>
        <p:nvPicPr>
          <p:cNvPr id="113688" name="Picture 24" descr="RZ_71_Media_RGB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1160" y="311868"/>
            <a:ext cx="1833563" cy="33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689" name="Picture 25" descr="RZ_71_Claim_RGB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8226" y="314592"/>
            <a:ext cx="1477036" cy="10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057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78B997-8E9F-4F25-823A-BE3F6A61A30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fld id="{39C55149-C502-4D53-9E12-F121D79F0866}" type="datetime1">
              <a:rPr lang="de-DE"/>
              <a:pPr/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409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90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2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0F45071F-C067-4038-92AF-A0FA3F9871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6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519CC9-58E0-44F7-BB20-5D4E1A3D35DD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322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256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35D810A5-FC59-49DC-B02F-2FDCBBBC9C7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03B968-AFA6-4997-B382-31F4F6C1B267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6524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23875" y="1372764"/>
            <a:ext cx="9429750" cy="13203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7260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10387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6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7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8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19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0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1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2"/>
              </p:custDataLst>
            </p:nvPr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70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0404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6254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4329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9812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7055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48174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66101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60779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80887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7045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987871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5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574" y="362744"/>
            <a:ext cx="163717" cy="16359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331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36896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34016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29277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156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85203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5192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56851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26321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588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Bottom_Media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34442"/>
            <a:ext cx="10477500" cy="548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6" descr="Hea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152"/>
            <a:ext cx="10477500" cy="116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6" descr="SevenOne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569" y="5578217"/>
            <a:ext cx="1031379" cy="21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33340" y="2479815"/>
            <a:ext cx="5210270" cy="741282"/>
          </a:xfrm>
        </p:spPr>
        <p:txBody>
          <a:bodyPr anchor="b"/>
          <a:lstStyle>
            <a:lvl1pPr>
              <a:defRPr sz="30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036603" y="3287229"/>
            <a:ext cx="5212827" cy="2000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00">
                <a:solidFill>
                  <a:srgbClr val="464646"/>
                </a:solidFill>
              </a:defRPr>
            </a:lvl1pPr>
            <a:lvl2pPr marL="457156" indent="0" algn="ctr">
              <a:buNone/>
              <a:defRPr/>
            </a:lvl2pPr>
            <a:lvl3pPr marL="914313" indent="0" algn="ctr">
              <a:buNone/>
              <a:defRPr/>
            </a:lvl3pPr>
            <a:lvl4pPr marL="1371469" indent="0" algn="ctr">
              <a:buNone/>
              <a:defRPr/>
            </a:lvl4pPr>
            <a:lvl5pPr marL="1828625" indent="0" algn="ctr">
              <a:buNone/>
              <a:defRPr/>
            </a:lvl5pPr>
            <a:lvl6pPr marL="2285782" indent="0" algn="ctr">
              <a:buNone/>
              <a:defRPr/>
            </a:lvl6pPr>
            <a:lvl7pPr marL="2742939" indent="0" algn="ctr">
              <a:buNone/>
              <a:defRPr/>
            </a:lvl7pPr>
            <a:lvl8pPr marL="3200095" indent="0" algn="ctr">
              <a:buNone/>
              <a:defRPr/>
            </a:lvl8pPr>
            <a:lvl9pPr marL="3657251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0"/>
          </p:nvPr>
        </p:nvSpPr>
        <p:spPr>
          <a:xfrm>
            <a:off x="588270" y="1002880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9" name="Inhaltsplatzhalter 7"/>
          <p:cNvSpPr>
            <a:spLocks noGrp="1"/>
          </p:cNvSpPr>
          <p:nvPr>
            <p:ph sz="quarter" idx="11"/>
          </p:nvPr>
        </p:nvSpPr>
        <p:spPr>
          <a:xfrm>
            <a:off x="1042294" y="2149029"/>
            <a:ext cx="4207500" cy="138499"/>
          </a:xfrm>
          <a:prstGeom prst="rect">
            <a:avLst/>
          </a:prstGeom>
        </p:spPr>
        <p:txBody>
          <a:bodyPr/>
          <a:lstStyle>
            <a:lvl1pPr>
              <a:buNone/>
              <a:defRPr sz="900"/>
            </a:lvl1pPr>
            <a:lvl2pPr marL="0">
              <a:buNone/>
              <a:defRPr sz="900"/>
            </a:lvl2pPr>
            <a:lvl3pPr marL="0">
              <a:spcBef>
                <a:spcPts val="0"/>
              </a:spcBef>
              <a:buNone/>
              <a:defRPr sz="900"/>
            </a:lvl3pPr>
            <a:lvl4pPr marL="0">
              <a:spcBef>
                <a:spcPts val="0"/>
              </a:spcBef>
              <a:buNone/>
              <a:defRPr sz="900"/>
            </a:lvl4pPr>
          </a:lstStyle>
          <a:p>
            <a:pPr lvl="0"/>
            <a:r>
              <a:rPr lang="de-DE" dirty="0" smtClean="0"/>
              <a:t>Textmasterformate durch Klicken bearbeiten</a:t>
            </a:r>
            <a:endParaRPr lang="de-DE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599FA9F1-E110-42CF-8682-45598FBFF7E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1"/>
          <p:cNvSpPr>
            <a:spLocks noGrp="1" noChangeArrowheads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28C09-BA42-41CC-BD0C-3630BF12467B}" type="datetime1">
              <a:rPr lang="de-DE"/>
              <a:pPr>
                <a:defRPr/>
              </a:pPr>
              <a:t>08.11.20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804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908636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0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4257" y="369889"/>
            <a:ext cx="149213" cy="15198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87849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3078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Kab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7484658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4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Grafik 37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3027" y="369888"/>
            <a:ext cx="230443" cy="15644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606888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0130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ix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69049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8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/>
          <p:cNvPicPr>
            <a:picLocks noChangeAspect="1"/>
          </p:cNvPicPr>
          <p:nvPr userDrawn="1"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7742" y="369888"/>
            <a:ext cx="597693" cy="15643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72" name="Gerade Verbindung 71"/>
          <p:cNvCxnSpPr/>
          <p:nvPr userDrawn="1">
            <p:custDataLst>
              <p:tags r:id="rId16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 userDrawn="1">
            <p:custDataLst>
              <p:tags r:id="rId17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29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My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952525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2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7356" y="364147"/>
            <a:ext cx="578644" cy="1597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256845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780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geseite_Sat.1 G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5238032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6"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8446" y="628673"/>
            <a:ext cx="7869039" cy="19236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dirty="0" err="1" smtClean="0"/>
              <a:t>Untertite</a:t>
            </a:r>
            <a:r>
              <a:rPr lang="en-GB" dirty="0" smtClean="0"/>
              <a:t>l</a:t>
            </a:r>
            <a:endParaRPr lang="de-DE" dirty="0" smtClean="0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89000" y="5127747"/>
            <a:ext cx="9024054" cy="383187"/>
          </a:xfrm>
        </p:spPr>
        <p:txBody>
          <a:bodyPr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8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8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800"/>
            </a:lvl4pPr>
            <a:lvl5pPr>
              <a:lnSpc>
                <a:spcPct val="100000"/>
              </a:lnSpc>
              <a:defRPr sz="800"/>
            </a:lvl5pPr>
          </a:lstStyle>
          <a:p>
            <a:pPr lvl="0"/>
            <a:r>
              <a:rPr lang="de-DE" dirty="0" smtClean="0"/>
              <a:t>Insgesamt max. 3 Zeilen</a:t>
            </a:r>
            <a:br>
              <a:rPr lang="de-DE" dirty="0" smtClean="0"/>
            </a:br>
            <a:r>
              <a:rPr lang="de-DE" dirty="0" smtClean="0"/>
              <a:t>* Fußnote</a:t>
            </a:r>
            <a:br>
              <a:rPr lang="de-DE" dirty="0" smtClean="0"/>
            </a:br>
            <a:r>
              <a:rPr lang="de-DE" dirty="0" smtClean="0"/>
              <a:t>Quelle: </a:t>
            </a:r>
            <a:endParaRPr lang="en-GB" dirty="0"/>
          </a:p>
        </p:txBody>
      </p:sp>
      <p:cxnSp>
        <p:nvCxnSpPr>
          <p:cNvPr id="21" name="Gerade Verbindung 20"/>
          <p:cNvCxnSpPr/>
          <p:nvPr userDrawn="1">
            <p:custDataLst>
              <p:tags r:id="rId5"/>
            </p:custDataLst>
          </p:nvPr>
        </p:nvCxnSpPr>
        <p:spPr>
          <a:xfrm>
            <a:off x="10477500" y="366227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>
            <p:custDataLst>
              <p:tags r:id="rId6"/>
            </p:custDataLst>
          </p:nvPr>
        </p:nvCxnSpPr>
        <p:spPr>
          <a:xfrm>
            <a:off x="10477500" y="521876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>
            <p:custDataLst>
              <p:tags r:id="rId7"/>
            </p:custDataLst>
          </p:nvPr>
        </p:nvCxnSpPr>
        <p:spPr>
          <a:xfrm>
            <a:off x="10477500" y="1237450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>
            <p:custDataLst>
              <p:tags r:id="rId8"/>
            </p:custDataLst>
          </p:nvPr>
        </p:nvCxnSpPr>
        <p:spPr>
          <a:xfrm>
            <a:off x="10477500" y="5038948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>
            <p:custDataLst>
              <p:tags r:id="rId9"/>
            </p:custDataLst>
          </p:nvPr>
        </p:nvCxnSpPr>
        <p:spPr>
          <a:xfrm>
            <a:off x="10477500" y="5520832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 userDrawn="1">
            <p:custDataLst>
              <p:tags r:id="rId10"/>
            </p:custDataLst>
          </p:nvPr>
        </p:nvCxnSpPr>
        <p:spPr>
          <a:xfrm>
            <a:off x="9903470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 userDrawn="1">
            <p:custDataLst>
              <p:tags r:id="rId11"/>
            </p:custDataLst>
          </p:nvPr>
        </p:nvCxnSpPr>
        <p:spPr>
          <a:xfrm>
            <a:off x="885205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 userDrawn="1">
            <p:custDataLst>
              <p:tags r:id="rId12"/>
            </p:custDataLst>
          </p:nvPr>
        </p:nvCxnSpPr>
        <p:spPr>
          <a:xfrm>
            <a:off x="578098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/>
          <p:cNvGrpSpPr/>
          <p:nvPr userDrawn="1"/>
        </p:nvGrpSpPr>
        <p:grpSpPr>
          <a:xfrm>
            <a:off x="7724236" y="5628062"/>
            <a:ext cx="2188818" cy="154800"/>
            <a:chOff x="7335273" y="5402052"/>
            <a:chExt cx="2188818" cy="154800"/>
          </a:xfrm>
        </p:grpSpPr>
        <p:cxnSp>
          <p:nvCxnSpPr>
            <p:cNvPr id="56" name="Gerade Verbindung 55"/>
            <p:cNvCxnSpPr/>
            <p:nvPr userDrawn="1">
              <p:custDataLst>
                <p:tags r:id="rId18"/>
              </p:custDataLst>
            </p:nvPr>
          </p:nvCxnSpPr>
          <p:spPr>
            <a:xfrm>
              <a:off x="9124000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>
              <p:custDataLst>
                <p:tags r:id="rId19"/>
              </p:custDataLst>
            </p:nvPr>
          </p:nvCxnSpPr>
          <p:spPr>
            <a:xfrm>
              <a:off x="8553421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>
              <p:custDataLst>
                <p:tags r:id="rId20"/>
              </p:custDataLst>
            </p:nvPr>
          </p:nvCxnSpPr>
          <p:spPr>
            <a:xfrm>
              <a:off x="8041459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>
              <p:custDataLst>
                <p:tags r:id="rId21"/>
              </p:custDataLst>
            </p:nvPr>
          </p:nvCxnSpPr>
          <p:spPr>
            <a:xfrm>
              <a:off x="7746387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>
              <p:custDataLst>
                <p:tags r:id="rId22"/>
              </p:custDataLst>
            </p:nvPr>
          </p:nvCxnSpPr>
          <p:spPr>
            <a:xfrm>
              <a:off x="7518065" y="5402052"/>
              <a:ext cx="0" cy="154800"/>
            </a:xfrm>
            <a:prstGeom prst="line">
              <a:avLst/>
            </a:prstGeom>
            <a:ln w="6350">
              <a:solidFill>
                <a:srgbClr val="AEAE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1" name="Grafik 60"/>
            <p:cNvPicPr>
              <a:picLocks noChangeAspect="1"/>
            </p:cNvPicPr>
            <p:nvPr userDrawn="1">
              <p:custDataLst>
                <p:tags r:id="rId23"/>
              </p:custDataLst>
            </p:nvPr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04011" y="5417896"/>
              <a:ext cx="469397" cy="129601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 userDrawn="1">
              <p:custDataLst>
                <p:tags r:id="rId24"/>
              </p:custDataLst>
            </p:nvPr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92049" y="5433136"/>
              <a:ext cx="410781" cy="9263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 userDrawn="1">
              <p:custDataLst>
                <p:tags r:id="rId25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6978" y="5415081"/>
              <a:ext cx="193890" cy="129602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 userDrawn="1">
              <p:custDataLst>
                <p:tags r:id="rId26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68656" y="5411406"/>
              <a:ext cx="127140" cy="129602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 userDrawn="1">
              <p:custDataLst>
                <p:tags r:id="rId27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35273" y="5412482"/>
              <a:ext cx="132201" cy="132201"/>
            </a:xfrm>
            <a:prstGeom prst="rect">
              <a:avLst/>
            </a:prstGeom>
          </p:spPr>
        </p:pic>
        <p:pic>
          <p:nvPicPr>
            <p:cNvPr id="66" name="Grafik 65"/>
            <p:cNvPicPr>
              <a:picLocks noChangeAspect="1"/>
            </p:cNvPicPr>
            <p:nvPr userDrawn="1">
              <p:custDataLst>
                <p:tags r:id="rId28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4590" y="5425451"/>
              <a:ext cx="349501" cy="108001"/>
            </a:xfrm>
            <a:prstGeom prst="rect">
              <a:avLst/>
            </a:prstGeom>
          </p:spPr>
        </p:pic>
      </p:grp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cxnSp>
        <p:nvCxnSpPr>
          <p:cNvPr id="67" name="Gerade Verbindung 66"/>
          <p:cNvCxnSpPr/>
          <p:nvPr userDrawn="1">
            <p:custDataLst>
              <p:tags r:id="rId13"/>
            </p:custDataLst>
          </p:nvPr>
        </p:nvCxnSpPr>
        <p:spPr>
          <a:xfrm>
            <a:off x="1632349" y="5597462"/>
            <a:ext cx="0" cy="2160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>
            <p:custDataLst>
              <p:tags r:id="rId14"/>
            </p:custDataLst>
          </p:nvPr>
        </p:nvCxnSpPr>
        <p:spPr>
          <a:xfrm>
            <a:off x="5533232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>
            <p:custDataLst>
              <p:tags r:id="rId15"/>
            </p:custDataLst>
          </p:nvPr>
        </p:nvCxnSpPr>
        <p:spPr>
          <a:xfrm>
            <a:off x="5258594" y="-102140"/>
            <a:ext cx="0" cy="74223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2371" y="375751"/>
            <a:ext cx="443932" cy="13718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2" name="Gerade Verbindung 51"/>
          <p:cNvCxnSpPr/>
          <p:nvPr userDrawn="1">
            <p:custDataLst>
              <p:tags r:id="rId16"/>
            </p:custDataLst>
          </p:nvPr>
        </p:nvCxnSpPr>
        <p:spPr>
          <a:xfrm>
            <a:off x="9387811" y="367076"/>
            <a:ext cx="0" cy="154800"/>
          </a:xfrm>
          <a:prstGeom prst="line">
            <a:avLst/>
          </a:prstGeom>
          <a:ln w="6350">
            <a:solidFill>
              <a:srgbClr val="AEAE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 userDrawn="1">
            <p:custDataLst>
              <p:tags r:id="rId17"/>
            </p:custDataLst>
          </p:nvPr>
        </p:nvCxnSpPr>
        <p:spPr>
          <a:xfrm>
            <a:off x="10477500" y="952275"/>
            <a:ext cx="174625" cy="0"/>
          </a:xfrm>
          <a:prstGeom prst="line">
            <a:avLst/>
          </a:prstGeom>
          <a:ln w="3175">
            <a:solidFill>
              <a:srgbClr val="FF00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162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02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74808" y="5402082"/>
            <a:ext cx="9324247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708" tIns="52354" rIns="104708" bIns="52354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99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65901117"/>
              </p:ext>
            </p:extLst>
          </p:nvPr>
        </p:nvGraphicFramePr>
        <p:xfrm>
          <a:off x="1820" y="1363"/>
          <a:ext cx="1819" cy="13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0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820" y="1363"/>
                        <a:ext cx="1819" cy="13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Bottom_Media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5358297"/>
            <a:ext cx="10475914" cy="528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6" descr="Head.pn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20241"/>
            <a:ext cx="10475914" cy="1120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1833525" y="5641598"/>
            <a:ext cx="211597" cy="127729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800">
                <a:solidFill>
                  <a:srgbClr val="464646"/>
                </a:solidFill>
              </a:defRPr>
            </a:lvl1pPr>
          </a:lstStyle>
          <a:p>
            <a:fld id="{4090CD80-8555-4F91-B6CC-5A5772C9F11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78446" y="322050"/>
            <a:ext cx="7869039" cy="27940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889000" y="1241425"/>
            <a:ext cx="9009063" cy="111569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/>
          </a:p>
        </p:txBody>
      </p:sp>
      <p:pic>
        <p:nvPicPr>
          <p:cNvPr id="8" name="Grafik 7"/>
          <p:cNvPicPr>
            <a:picLocks noChangeAspect="1"/>
          </p:cNvPicPr>
          <p:nvPr>
            <p:custDataLst>
              <p:tags r:id="rId22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148" y="5596816"/>
            <a:ext cx="883443" cy="21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7" r:id="rId1"/>
    <p:sldLayoutId id="2147485149" r:id="rId2"/>
    <p:sldLayoutId id="2147485163" r:id="rId3"/>
    <p:sldLayoutId id="2147485150" r:id="rId4"/>
    <p:sldLayoutId id="2147485151" r:id="rId5"/>
    <p:sldLayoutId id="2147485152" r:id="rId6"/>
    <p:sldLayoutId id="2147485153" r:id="rId7"/>
    <p:sldLayoutId id="2147485154" r:id="rId8"/>
    <p:sldLayoutId id="2147485192" r:id="rId9"/>
    <p:sldLayoutId id="2147485193" r:id="rId10"/>
    <p:sldLayoutId id="2147485195" r:id="rId11"/>
    <p:sldLayoutId id="2147485197" r:id="rId12"/>
    <p:sldLayoutId id="2147485198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ts val="2100"/>
        </a:lnSpc>
        <a:spcBef>
          <a:spcPct val="0"/>
        </a:spcBef>
        <a:spcAft>
          <a:spcPts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130000"/>
        </a:lnSpc>
        <a:spcBef>
          <a:spcPct val="0"/>
        </a:spcBef>
        <a:spcAft>
          <a:spcPct val="80000"/>
        </a:spcAft>
        <a:defRPr sz="1800" b="1">
          <a:solidFill>
            <a:srgbClr val="464646"/>
          </a:solidFill>
          <a:latin typeface="Arial" charset="0"/>
          <a:cs typeface="Arial" charset="0"/>
        </a:defRPr>
      </a:lvl5pPr>
      <a:lvl6pPr marL="474848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6pPr>
      <a:lvl7pPr marL="949697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7pPr>
      <a:lvl8pPr marL="1424545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8pPr>
      <a:lvl9pPr marL="1899393" algn="ctr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Times New Roman" charset="0"/>
        </a:defRPr>
      </a:lvl9pPr>
    </p:titleStyle>
    <p:bodyStyle>
      <a:lvl1pPr marL="0" indent="0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chemeClr val="accent2"/>
        </a:buClr>
        <a:buNone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189628" indent="-189628" algn="l" rtl="0" eaLnBrk="1" fontAlgn="base" hangingPunct="1">
        <a:lnSpc>
          <a:spcPts val="1500"/>
        </a:lnSpc>
        <a:spcBef>
          <a:spcPts val="600"/>
        </a:spcBef>
        <a:spcAft>
          <a:spcPct val="0"/>
        </a:spcAft>
        <a:buClr>
          <a:srgbClr val="FF0033"/>
        </a:buClr>
        <a:buSzPct val="115000"/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372660" indent="-183032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3pPr>
      <a:lvl4pPr marL="562288" indent="-189628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4pPr>
      <a:lvl5pPr marL="743671" indent="-181383" algn="l" rtl="0" eaLnBrk="1" fontAlgn="base" hangingPunct="1">
        <a:lnSpc>
          <a:spcPts val="1500"/>
        </a:lnSpc>
        <a:spcBef>
          <a:spcPts val="200"/>
        </a:spcBef>
        <a:spcAft>
          <a:spcPct val="0"/>
        </a:spcAft>
        <a:buClr>
          <a:srgbClr val="8D8D8D"/>
        </a:buClr>
        <a:buFont typeface="Arial" pitchFamily="34" charset="0"/>
        <a:buChar char="–"/>
        <a:defRPr sz="1300">
          <a:solidFill>
            <a:srgbClr val="464646"/>
          </a:solidFill>
          <a:latin typeface="+mn-lt"/>
          <a:cs typeface="+mn-cs"/>
        </a:defRPr>
      </a:lvl5pPr>
      <a:lvl6pPr marL="2611666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86514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61363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36212" indent="-237425" algn="l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4894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9787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24681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957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74468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49362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24255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99149" algn="l" defTabSz="94978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7531" y="315954"/>
            <a:ext cx="8987731" cy="5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02283" y="5597282"/>
            <a:ext cx="552979" cy="186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0" bIns="45716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>
                <a:solidFill>
                  <a:srgbClr val="464646"/>
                </a:solidFill>
              </a:defRPr>
            </a:lvl1pPr>
          </a:lstStyle>
          <a:p>
            <a:pPr>
              <a:defRPr/>
            </a:pPr>
            <a:fld id="{AA87B289-E033-4E3E-B9BD-094DAA2FE0EB}" type="slidenum">
              <a:rPr lang="de-DE">
                <a:latin typeface="Arial" pitchFamily="34" charset="0"/>
                <a:cs typeface="Arial" pitchFamily="34" charset="0"/>
              </a:rPr>
              <a:pPr>
                <a:defRPr/>
              </a:pPr>
              <a:t>‹Nr.›</a:t>
            </a:fld>
            <a:endParaRPr lang="de-DE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27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345111" y="5568424"/>
            <a:ext cx="611697" cy="215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31" tIns="45716" rIns="0" bIns="45716" numCol="1" anchor="b" anchorCtr="0" compatLnSpc="1">
            <a:prstTxWarp prst="textNoShape">
              <a:avLst/>
            </a:prstTxWarp>
            <a:spAutoFit/>
          </a:bodyPr>
          <a:lstStyle>
            <a:lvl1pPr algn="r">
              <a:spcBef>
                <a:spcPct val="0"/>
              </a:spcBef>
              <a:defRPr sz="800"/>
            </a:lvl1pPr>
          </a:lstStyle>
          <a:p>
            <a:fld id="{4E85E451-6327-4825-BC8D-107A98999D81}" type="datetime1">
              <a:rPr lang="de-DE">
                <a:latin typeface="Arial" pitchFamily="34" charset="0"/>
                <a:cs typeface="Arial" pitchFamily="34" charset="0"/>
              </a:rPr>
              <a:pPr/>
              <a:t>08.11.2016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9228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22285" y="1292415"/>
            <a:ext cx="8532978" cy="1320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34885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7" r:id="rId13"/>
    <p:sldLayoutId id="2147485178" r:id="rId14"/>
    <p:sldLayoutId id="2147485179" r:id="rId15"/>
    <p:sldLayoutId id="2147485180" r:id="rId16"/>
    <p:sldLayoutId id="2147485181" r:id="rId17"/>
    <p:sldLayoutId id="2147485182" r:id="rId18"/>
    <p:sldLayoutId id="2147485183" r:id="rId19"/>
    <p:sldLayoutId id="2147485184" r:id="rId20"/>
    <p:sldLayoutId id="2147485185" r:id="rId21"/>
    <p:sldLayoutId id="2147485186" r:id="rId22"/>
    <p:sldLayoutId id="2147485187" r:id="rId23"/>
    <p:sldLayoutId id="2147485188" r:id="rId24"/>
    <p:sldLayoutId id="2147485189" r:id="rId25"/>
    <p:sldLayoutId id="2147485190" r:id="rId26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700" b="1">
          <a:solidFill>
            <a:srgbClr val="464646"/>
          </a:solidFill>
          <a:latin typeface="Arial" charset="0"/>
          <a:cs typeface="Arial" charset="0"/>
        </a:defRPr>
      </a:lvl5pPr>
      <a:lvl6pPr marL="45715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313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46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6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271463" indent="-2714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ea typeface="+mn-ea"/>
          <a:cs typeface="+mn-cs"/>
        </a:defRPr>
      </a:lvl1pPr>
      <a:lvl2pPr marL="542925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2pPr>
      <a:lvl3pPr marL="814388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3pPr>
      <a:lvl4pPr marL="1074738" indent="-258763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4pPr>
      <a:lvl5pPr marL="1346200" indent="-269875" algn="l" rtl="0" eaLnBrk="1" fontAlgn="base" hangingPunct="1">
        <a:spcBef>
          <a:spcPct val="40000"/>
        </a:spcBef>
        <a:spcAft>
          <a:spcPct val="0"/>
        </a:spcAft>
        <a:buClr>
          <a:schemeClr val="accent2"/>
        </a:buClr>
        <a:buChar char="•"/>
        <a:defRPr sz="1300">
          <a:solidFill>
            <a:srgbClr val="464646"/>
          </a:solidFill>
          <a:latin typeface="+mn-lt"/>
          <a:cs typeface="+mn-cs"/>
        </a:defRPr>
      </a:lvl5pPr>
      <a:lvl6pPr marL="251436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516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673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830" indent="-228579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jpeg"/><Relationship Id="rId2" Type="http://schemas.openxmlformats.org/officeDocument/2006/relationships/tags" Target="../tags/tag2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.xml"/><Relationship Id="rId9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090CD80-8555-4F91-B6CC-5A5772C9F113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81025" y="322050"/>
            <a:ext cx="7869039" cy="269304"/>
          </a:xfrm>
        </p:spPr>
        <p:txBody>
          <a:bodyPr/>
          <a:lstStyle/>
          <a:p>
            <a:r>
              <a:rPr lang="de-DE" dirty="0" smtClean="0"/>
              <a:t>3. Aktive Nutzerführung: TV pusht Online pusht TV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025" y="961142"/>
            <a:ext cx="9896474" cy="4566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2312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190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6912895"/>
              </p:ext>
            </p:extLst>
          </p:nvPr>
        </p:nvGraphicFramePr>
        <p:xfrm>
          <a:off x="0" y="0"/>
          <a:ext cx="181901" cy="136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1901" cy="1361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5" descr="http://www.wuv.de/var/wuv/storage/images/werben_verkaufen/nachrichten/digital/myvideo_startet_spartacus_blood_and_sand/4228961-1-ger-DE/myvideo_startet_spartacus_blood_and_sand_evo_580x326.jpg"/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3000" y="990601"/>
            <a:ext cx="5524500" cy="454787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6"/>
          <p:cNvSpPr>
            <a:spLocks noGrp="1" noChangeArrowheads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91394B2D-E59F-4FF0-B44B-2339A6E15AE3}" type="slidenum">
              <a:rPr lang="de-DE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251907" name="Rectangle 3"/>
          <p:cNvSpPr>
            <a:spLocks noGrp="1" noChangeArrowheads="1"/>
          </p:cNvSpPr>
          <p:nvPr>
            <p:ph type="title"/>
          </p:nvPr>
        </p:nvSpPr>
        <p:spPr>
          <a:xfrm>
            <a:off x="578446" y="322050"/>
            <a:ext cx="7869039" cy="251607"/>
          </a:xfrm>
        </p:spPr>
        <p:txBody>
          <a:bodyPr/>
          <a:lstStyle/>
          <a:p>
            <a:r>
              <a:rPr lang="de-DE" dirty="0" smtClean="0"/>
              <a:t>Trailer wirken schnell und unmittelbar</a:t>
            </a:r>
          </a:p>
        </p:txBody>
      </p:sp>
      <p:graphicFrame>
        <p:nvGraphicFramePr>
          <p:cNvPr id="2" name="Object 1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0426995"/>
              </p:ext>
            </p:extLst>
          </p:nvPr>
        </p:nvGraphicFramePr>
        <p:xfrm>
          <a:off x="306512" y="1699304"/>
          <a:ext cx="8674449" cy="3531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51913" name="Rectangle 9"/>
          <p:cNvSpPr>
            <a:spLocks noChangeArrowheads="1"/>
          </p:cNvSpPr>
          <p:nvPr/>
        </p:nvSpPr>
        <p:spPr bwMode="auto">
          <a:xfrm>
            <a:off x="888418" y="1208594"/>
            <a:ext cx="852710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b="1" dirty="0" smtClean="0">
                <a:solidFill>
                  <a:srgbClr val="464646"/>
                </a:solidFill>
              </a:rPr>
              <a:t>Zugriffe auf Spartacus </a:t>
            </a:r>
            <a:r>
              <a:rPr lang="de-DE" sz="1300" b="1" dirty="0" err="1" smtClean="0">
                <a:solidFill>
                  <a:srgbClr val="464646"/>
                </a:solidFill>
              </a:rPr>
              <a:t>myvideo</a:t>
            </a:r>
            <a:r>
              <a:rPr lang="de-DE" sz="1300" b="1" dirty="0" smtClean="0">
                <a:solidFill>
                  <a:srgbClr val="464646"/>
                </a:solidFill>
              </a:rPr>
              <a:t>* (2min-Intervall) nach </a:t>
            </a:r>
            <a:r>
              <a:rPr lang="de-DE" sz="1300" b="1" dirty="0" err="1" smtClean="0">
                <a:solidFill>
                  <a:srgbClr val="464646"/>
                </a:solidFill>
              </a:rPr>
              <a:t>Trailerausstrahlung</a:t>
            </a:r>
            <a:r>
              <a:rPr lang="de-DE" sz="1300" b="1" dirty="0" smtClean="0">
                <a:solidFill>
                  <a:srgbClr val="464646"/>
                </a:solidFill>
              </a:rPr>
              <a:t> auf ProSieben</a:t>
            </a:r>
            <a:r>
              <a:rPr lang="de-DE" sz="1300" b="1" dirty="0">
                <a:solidFill>
                  <a:srgbClr val="464646"/>
                </a:solidFill>
              </a:rPr>
              <a:t/>
            </a:r>
            <a:br>
              <a:rPr lang="de-DE" sz="1300" b="1" dirty="0">
                <a:solidFill>
                  <a:srgbClr val="464646"/>
                </a:solidFill>
              </a:rPr>
            </a:br>
            <a:r>
              <a:rPr lang="de-DE" sz="1300" dirty="0" smtClean="0">
                <a:solidFill>
                  <a:srgbClr val="464646"/>
                </a:solidFill>
              </a:rPr>
              <a:t>Mittelwerte absolute Zugriffe</a:t>
            </a:r>
            <a:endParaRPr lang="de-DE" sz="1300" dirty="0">
              <a:solidFill>
                <a:srgbClr val="464646"/>
              </a:solidFill>
            </a:endParaRPr>
          </a:p>
        </p:txBody>
      </p:sp>
      <p:sp>
        <p:nvSpPr>
          <p:cNvPr id="251910" name="Rectangle 6"/>
          <p:cNvSpPr>
            <a:spLocks noChangeArrowheads="1"/>
          </p:cNvSpPr>
          <p:nvPr/>
        </p:nvSpPr>
        <p:spPr bwMode="auto">
          <a:xfrm>
            <a:off x="888418" y="5021828"/>
            <a:ext cx="4176448" cy="314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eaLnBrk="0" hangingPunct="0">
              <a:spcBef>
                <a:spcPct val="0"/>
              </a:spcBef>
            </a:pPr>
            <a:r>
              <a:rPr lang="de-DE" sz="800" dirty="0" smtClean="0">
                <a:cs typeface="+mn-cs"/>
              </a:rPr>
              <a:t>* Zugriffe auf /</a:t>
            </a:r>
            <a:r>
              <a:rPr lang="de-DE" sz="800" dirty="0" err="1" smtClean="0">
                <a:cs typeface="+mn-cs"/>
              </a:rPr>
              <a:t>serien</a:t>
            </a:r>
            <a:r>
              <a:rPr lang="de-DE" sz="800" dirty="0" smtClean="0">
                <a:cs typeface="+mn-cs"/>
              </a:rPr>
              <a:t>/</a:t>
            </a:r>
            <a:r>
              <a:rPr lang="de-DE" sz="800" dirty="0" err="1" smtClean="0">
                <a:cs typeface="+mn-cs"/>
              </a:rPr>
              <a:t>prosieben</a:t>
            </a:r>
            <a:r>
              <a:rPr lang="de-DE" sz="800" dirty="0" smtClean="0">
                <a:cs typeface="+mn-cs"/>
              </a:rPr>
              <a:t>/</a:t>
            </a:r>
            <a:r>
              <a:rPr lang="de-DE" sz="800" dirty="0" err="1" smtClean="0">
                <a:cs typeface="+mn-cs"/>
              </a:rPr>
              <a:t>spartacus</a:t>
            </a:r>
            <a:r>
              <a:rPr lang="de-DE" sz="800" dirty="0" smtClean="0">
                <a:cs typeface="+mn-cs"/>
              </a:rPr>
              <a:t>/</a:t>
            </a:r>
            <a:r>
              <a:rPr lang="de-DE" sz="800" dirty="0" err="1" smtClean="0">
                <a:cs typeface="+mn-cs"/>
              </a:rPr>
              <a:t>watch</a:t>
            </a:r>
            <a:r>
              <a:rPr lang="de-DE" sz="800" dirty="0" smtClean="0">
                <a:cs typeface="+mn-cs"/>
              </a:rPr>
              <a:t>/</a:t>
            </a:r>
            <a:r>
              <a:rPr lang="de-DE" sz="800" dirty="0" err="1" smtClean="0">
                <a:cs typeface="+mn-cs"/>
              </a:rPr>
              <a:t>index</a:t>
            </a:r>
            <a:r>
              <a:rPr lang="de-DE" sz="800" dirty="0" smtClean="0">
                <a:cs typeface="+mn-cs"/>
              </a:rPr>
              <a:t>/</a:t>
            </a:r>
          </a:p>
          <a:p>
            <a:pPr eaLnBrk="0" hangingPunct="0">
              <a:spcBef>
                <a:spcPct val="0"/>
              </a:spcBef>
            </a:pPr>
            <a:r>
              <a:rPr lang="de-DE" sz="800" dirty="0" smtClean="0">
                <a:cs typeface="+mn-cs"/>
              </a:rPr>
              <a:t>n=130 Trailer (1h überschneidungsfrei, 22.03. – 05.05)</a:t>
            </a:r>
          </a:p>
        </p:txBody>
      </p:sp>
    </p:spTree>
    <p:extLst>
      <p:ext uri="{BB962C8B-B14F-4D97-AF65-F5344CB8AC3E}">
        <p14:creationId xmlns:p14="http://schemas.microsoft.com/office/powerpoint/2010/main" val="36771413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178760"/>
              </p:ext>
            </p:extLst>
          </p:nvPr>
        </p:nvGraphicFramePr>
        <p:xfrm>
          <a:off x="0" y="0"/>
          <a:ext cx="181901" cy="136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1901" cy="1361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6"/>
          <p:cNvSpPr>
            <a:spLocks noGrp="1" noChangeArrowheads="1"/>
          </p:cNvSpPr>
          <p:nvPr>
            <p:ph type="sldNum" sz="quarter" idx="16"/>
          </p:nvPr>
        </p:nvSpPr>
        <p:spPr>
          <a:noFill/>
        </p:spPr>
        <p:txBody>
          <a:bodyPr/>
          <a:lstStyle>
            <a:lvl1pPr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5029B1FB-FE77-4EDD-9105-E468AB8E7ECD}" type="slidenum">
              <a:rPr lang="de-DE" sz="800" smtClean="0"/>
              <a:pPr eaLnBrk="1" hangingPunct="1"/>
              <a:t>3</a:t>
            </a:fld>
            <a:endParaRPr lang="de-DE" sz="800" smtClean="0"/>
          </a:p>
        </p:txBody>
      </p:sp>
      <p:sp>
        <p:nvSpPr>
          <p:cNvPr id="13317" name="Rectangle 3"/>
          <p:cNvSpPr>
            <a:spLocks noGrp="1" noChangeArrowheads="1"/>
          </p:cNvSpPr>
          <p:nvPr>
            <p:ph type="title"/>
          </p:nvPr>
        </p:nvSpPr>
        <p:spPr>
          <a:xfrm>
            <a:off x="578446" y="322050"/>
            <a:ext cx="7869039" cy="269304"/>
          </a:xfrm>
        </p:spPr>
        <p:txBody>
          <a:bodyPr/>
          <a:lstStyle/>
          <a:p>
            <a:r>
              <a:rPr lang="de-DE" dirty="0" smtClean="0"/>
              <a:t>Moderation + Bauchbinde führt Zuschauer unmittelbar ins Web</a:t>
            </a:r>
          </a:p>
        </p:txBody>
      </p:sp>
      <p:sp>
        <p:nvSpPr>
          <p:cNvPr id="13315" name="Rectangle 11"/>
          <p:cNvSpPr>
            <a:spLocks noGrp="1" noChangeArrowheads="1"/>
          </p:cNvSpPr>
          <p:nvPr>
            <p:ph type="dt" sz="quarter" idx="4294967295"/>
          </p:nvPr>
        </p:nvSpPr>
        <p:spPr>
          <a:xfrm>
            <a:off x="9550400" y="5600700"/>
            <a:ext cx="927100" cy="182563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rgbClr val="464646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D3D69B76-F4C0-49B5-82B1-6E90E5F42922}" type="datetime1">
              <a:rPr lang="de-DE" sz="800" smtClean="0"/>
              <a:pPr eaLnBrk="1" hangingPunct="1"/>
              <a:t>08.11.2016</a:t>
            </a:fld>
            <a:endParaRPr lang="de-DE" sz="800" smtClean="0"/>
          </a:p>
        </p:txBody>
      </p:sp>
      <p:sp>
        <p:nvSpPr>
          <p:cNvPr id="13318" name="Line 4"/>
          <p:cNvSpPr>
            <a:spLocks noChangeShapeType="1"/>
          </p:cNvSpPr>
          <p:nvPr/>
        </p:nvSpPr>
        <p:spPr bwMode="auto">
          <a:xfrm>
            <a:off x="934972" y="5071601"/>
            <a:ext cx="8620291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319" name="Rectangle 5"/>
          <p:cNvSpPr>
            <a:spLocks noChangeArrowheads="1"/>
          </p:cNvSpPr>
          <p:nvPr/>
        </p:nvSpPr>
        <p:spPr bwMode="auto">
          <a:xfrm>
            <a:off x="934971" y="1292414"/>
            <a:ext cx="8163719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sz="1300" b="1" dirty="0" err="1" smtClean="0"/>
              <a:t>PageImpressions</a:t>
            </a:r>
            <a:endParaRPr lang="de-DE" sz="1300" b="1" dirty="0"/>
          </a:p>
        </p:txBody>
      </p:sp>
      <p:sp>
        <p:nvSpPr>
          <p:cNvPr id="346132" name="Rectangle 20"/>
          <p:cNvSpPr>
            <a:spLocks noChangeArrowheads="1"/>
          </p:cNvSpPr>
          <p:nvPr/>
        </p:nvSpPr>
        <p:spPr bwMode="auto">
          <a:xfrm>
            <a:off x="934972" y="5174019"/>
            <a:ext cx="86202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de-DE" sz="800">
                <a:solidFill>
                  <a:srgbClr val="8D8D8D"/>
                </a:solidFill>
                <a:latin typeface="Arial" pitchFamily="34" charset="0"/>
                <a:cs typeface="+mn-cs"/>
              </a:rPr>
              <a:t>Basis </a:t>
            </a:r>
            <a:r>
              <a:rPr lang="de-DE" sz="800">
                <a:solidFill>
                  <a:srgbClr val="8D8D8D"/>
                </a:solidFill>
                <a:latin typeface="Arial" pitchFamily="34" charset="0"/>
                <a:cs typeface="Arial" pitchFamily="34" charset="0"/>
              </a:rPr>
              <a:t>Quelle: Eigene Messungen, SevenOne Media.</a:t>
            </a:r>
          </a:p>
          <a:p>
            <a:pPr>
              <a:spcBef>
                <a:spcPct val="0"/>
              </a:spcBef>
              <a:defRPr/>
            </a:pPr>
            <a:r>
              <a:rPr lang="de-DE" sz="800">
                <a:solidFill>
                  <a:srgbClr val="8D8D8D"/>
                </a:solidFill>
                <a:latin typeface="Arial" pitchFamily="34" charset="0"/>
                <a:cs typeface="Arial" pitchFamily="34" charset="0"/>
              </a:rPr>
              <a:t>Auswertungszeitraum: 14.02.2011 – 16.05.2011; Durchschnitt: 17.05.-20.05.2011</a:t>
            </a:r>
          </a:p>
        </p:txBody>
      </p:sp>
      <p:graphicFrame>
        <p:nvGraphicFramePr>
          <p:cNvPr id="2" name="Object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33927112"/>
              </p:ext>
            </p:extLst>
          </p:nvPr>
        </p:nvGraphicFramePr>
        <p:xfrm>
          <a:off x="1029428" y="1492468"/>
          <a:ext cx="8451387" cy="3401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Pfeil nach unten 3"/>
          <p:cNvSpPr/>
          <p:nvPr/>
        </p:nvSpPr>
        <p:spPr>
          <a:xfrm>
            <a:off x="6452933" y="1235392"/>
            <a:ext cx="362138" cy="425513"/>
          </a:xfrm>
          <a:prstGeom prst="downArrow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00" b="1" dirty="0" err="1" smtClean="0"/>
          </a:p>
        </p:txBody>
      </p:sp>
      <p:sp>
        <p:nvSpPr>
          <p:cNvPr id="5" name="Rechteck 4"/>
          <p:cNvSpPr/>
          <p:nvPr/>
        </p:nvSpPr>
        <p:spPr>
          <a:xfrm>
            <a:off x="6893270" y="1241931"/>
            <a:ext cx="207300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0"/>
              </a:spcBef>
              <a:buClr>
                <a:schemeClr val="accent2"/>
              </a:buClr>
            </a:pPr>
            <a:r>
              <a:rPr lang="de-DE" b="1" dirty="0" smtClean="0">
                <a:solidFill>
                  <a:srgbClr val="FF0000"/>
                </a:solidFill>
              </a:rPr>
              <a:t>Moderation </a:t>
            </a:r>
            <a:r>
              <a:rPr lang="de-DE" b="1" dirty="0">
                <a:solidFill>
                  <a:srgbClr val="FF0000"/>
                </a:solidFill>
              </a:rPr>
              <a:t>+ </a:t>
            </a:r>
            <a:r>
              <a:rPr lang="de-DE" b="1" dirty="0" smtClean="0">
                <a:solidFill>
                  <a:srgbClr val="FF0000"/>
                </a:solidFill>
              </a:rPr>
              <a:t>Bauchbinde</a:t>
            </a:r>
            <a:endParaRPr lang="de-D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5981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54088"/>
            <a:ext cx="10475914" cy="4567237"/>
          </a:xfrm>
          <a:prstGeom prst="rect">
            <a:avLst/>
          </a:prstGeom>
        </p:spPr>
      </p:pic>
      <p:sp>
        <p:nvSpPr>
          <p:cNvPr id="6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695644" y="2814354"/>
            <a:ext cx="9113374" cy="553998"/>
          </a:xfrm>
          <a:effectLst/>
        </p:spPr>
        <p:txBody>
          <a:bodyPr/>
          <a:lstStyle/>
          <a:p>
            <a:r>
              <a:rPr lang="de-DE" sz="3600" dirty="0" smtClean="0">
                <a:solidFill>
                  <a:srgbClr val="000000"/>
                </a:solidFill>
              </a:rPr>
              <a:t>Vielen Dank fürs Zuhören!</a:t>
            </a:r>
            <a:endParaRPr lang="de-DE" sz="4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5515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AkIjZ8yEi_mWhhTw2X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B8FVgzAkSxdTmUr95hb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lkbl5FtEu7HGe7l1r7m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Kw4aoJkuAkq5XuD211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flmWHMpEeYpQtCp1VjB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yZ0rspPUKMPiST7AfMU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HrYvQb7UugtQHBwONX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PulHvPekKnHuVeGEwmI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XmJrN_oEKpUYxaRbkhe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2ydnYI0icPCj4jKVH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1qttnGZUGXOnt532BX6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iGfjYbkGsgexWqLbA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ALLVhGjk2DwtmOCLiX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pK4eqwLkq8I9ISV5qt6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hAo1izUqz5ewzL4Dk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_WpZts9UW7MG2BGKhU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IhEBLcjUWeeb7WiT.Xa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Y8ZRsj9ku9EnoNB6RT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HEjOZjuEGcmOQqV8ot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avKUx65U2DhLus8gSnA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4jGQ6fEqfdBoU5ZKkD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nCYxmT1EGC9ZYFulLN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S.OZFD7UuTBpGeRvTm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aQFoDWEm8p1EkoGDQj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RoSsnfeUOdjipuREU57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qdaZ2ADE.5qCf91IaZ.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4zai_FqEm13LDlE3yJ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p_YTmcUEaEiw52UdgHp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VRiCaGBE64ZT_gkhMW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3CsnYUEao_vZWyXvH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s8f4lj0m6NFDFPvW.F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wwSFRRQ0mOPBlvp9cv.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x7L15j806Km_U7KHLA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1XUIyN8kSHhebpEFhA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oEaqb1EeDgyTdKtZ6P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0_QSet0i0K5c5Hoot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TzezFgj0y152IolUPrv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OEQzIes0KgIkWhRqok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anAMoHUac4Yu7Zxdg6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TI5loSOkSnAE2SE9Ajng"/>
</p:tagLst>
</file>

<file path=ppt/theme/theme1.xml><?xml version="1.0" encoding="utf-8"?>
<a:theme xmlns:a="http://schemas.openxmlformats.org/drawingml/2006/main" name="blank">
  <a:themeElements>
    <a:clrScheme name="71M">
      <a:dk1>
        <a:srgbClr val="464646"/>
      </a:dk1>
      <a:lt1>
        <a:srgbClr val="FFFFFF"/>
      </a:lt1>
      <a:dk2>
        <a:srgbClr val="F79233"/>
      </a:dk2>
      <a:lt2>
        <a:srgbClr val="FF0033"/>
      </a:lt2>
      <a:accent1>
        <a:srgbClr val="FFE55B"/>
      </a:accent1>
      <a:accent2>
        <a:srgbClr val="F06464"/>
      </a:accent2>
      <a:accent3>
        <a:srgbClr val="96CB64"/>
      </a:accent3>
      <a:accent4>
        <a:srgbClr val="89D4E5"/>
      </a:accent4>
      <a:accent5>
        <a:srgbClr val="FEBE10"/>
      </a:accent5>
      <a:accent6>
        <a:srgbClr val="F067A6"/>
      </a:accent6>
      <a:hlink>
        <a:srgbClr val="FF0033"/>
      </a:hlink>
      <a:folHlink>
        <a:srgbClr val="F79233"/>
      </a:folHlink>
    </a:clrScheme>
    <a:fontScheme name="71M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300"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defRPr sz="1300" dirty="0" err="1" smtClean="0"/>
        </a:defPPr>
      </a:lstStyle>
    </a:tx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71Media-Mastervorlage 1">
      <a:dk1>
        <a:srgbClr val="464646"/>
      </a:dk1>
      <a:lt1>
        <a:srgbClr val="FFFFFF"/>
      </a:lt1>
      <a:dk2>
        <a:srgbClr val="464646"/>
      </a:dk2>
      <a:lt2>
        <a:srgbClr val="AEAEAE"/>
      </a:lt2>
      <a:accent1>
        <a:srgbClr val="CCCCCC"/>
      </a:accent1>
      <a:accent2>
        <a:srgbClr val="E00000"/>
      </a:accent2>
      <a:accent3>
        <a:srgbClr val="FFFFFF"/>
      </a:accent3>
      <a:accent4>
        <a:srgbClr val="3A3A3A"/>
      </a:accent4>
      <a:accent5>
        <a:srgbClr val="E2E2E2"/>
      </a:accent5>
      <a:accent6>
        <a:srgbClr val="CB0000"/>
      </a:accent6>
      <a:hlink>
        <a:srgbClr val="E00000"/>
      </a:hlink>
      <a:folHlink>
        <a:srgbClr val="969696"/>
      </a:folHlink>
    </a:clrScheme>
    <a:fontScheme name="1_71Media-Mastervorlag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1Media-Mastervorlag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9</Words>
  <Application>Microsoft Office PowerPoint</Application>
  <PresentationFormat>Benutzerdefiniert</PresentationFormat>
  <Paragraphs>19</Paragraphs>
  <Slides>4</Slides>
  <Notes>4</Notes>
  <HiddenSlides>1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7" baseType="lpstr">
      <vt:lpstr>blank</vt:lpstr>
      <vt:lpstr>1_blank</vt:lpstr>
      <vt:lpstr>think-cell Folie</vt:lpstr>
      <vt:lpstr>3. Aktive Nutzerführung: TV pusht Online pusht TV</vt:lpstr>
      <vt:lpstr>Trailer wirken schnell und unmittelbar</vt:lpstr>
      <vt:lpstr>Moderation + Bauchbinde führt Zuschauer unmittelbar ins Web</vt:lpstr>
      <vt:lpstr>Vielen Dank fürs Zuhören!</vt:lpstr>
    </vt:vector>
  </TitlesOfParts>
  <Company>Software Serv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llebrand Marie-Therese</dc:creator>
  <cp:lastModifiedBy>Zeising, Gabriela</cp:lastModifiedBy>
  <cp:revision>121</cp:revision>
  <cp:lastPrinted>2013-06-11T07:06:20Z</cp:lastPrinted>
  <dcterms:created xsi:type="dcterms:W3CDTF">2013-05-15T14:53:14Z</dcterms:created>
  <dcterms:modified xsi:type="dcterms:W3CDTF">2016-11-08T10:52:22Z</dcterms:modified>
</cp:coreProperties>
</file>